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8" r:id="rId5"/>
    <p:sldId id="533" r:id="rId6"/>
    <p:sldId id="532" r:id="rId7"/>
    <p:sldId id="391" r:id="rId8"/>
    <p:sldId id="534" r:id="rId9"/>
    <p:sldId id="535" r:id="rId10"/>
    <p:sldId id="537" r:id="rId11"/>
    <p:sldId id="536" r:id="rId12"/>
    <p:sldId id="406" r:id="rId13"/>
    <p:sldId id="528" r:id="rId14"/>
    <p:sldId id="529" r:id="rId15"/>
  </p:sldIdLst>
  <p:sldSz cx="12192000" cy="68580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Verdana" panose="020B0604030504040204" pitchFamily="34" charset="0"/>
      <p:regular r:id="rId22"/>
      <p:bold r:id="rId23"/>
      <p:italic r:id="rId24"/>
      <p:boldItalic r:id="rId25"/>
    </p:embeddedFont>
    <p:embeddedFont>
      <p:font typeface="Merck" panose="020B0604020202020204" charset="0"/>
      <p:regular r:id="rId26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8C791D1-577A-447D-96BB-B3F56476A42B}">
  <a:tblStyle styleId="{C8C791D1-577A-447D-96BB-B3F56476A42B}" styleName="MERCK Table Templat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>
          <a:scrgbClr r="0" g="0" b="0"/>
        </a:fontRef>
        <a:schemeClr val="accent1"/>
      </a:tcTxStyle>
      <a:tcStyle>
        <a:tcBdr/>
      </a:tcStyle>
    </a:lastCol>
    <a:firstCol>
      <a:tcTxStyle b="on">
        <a:fontRef idx="minor">
          <a:scrgbClr r="0" g="0" b="0"/>
        </a:fontRef>
        <a:schemeClr val="accent1"/>
      </a:tcTxStyle>
      <a:tcStyle>
        <a:tcBdr/>
      </a:tcStyle>
    </a:firstCol>
    <a:lastRow>
      <a:tcTxStyle b="on">
        <a:fontRef idx="minor">
          <a:scrgbClr r="0" g="0" b="0"/>
        </a:fontRef>
        <a:schemeClr val="accent1"/>
      </a:tcTxStyle>
      <a:tcStyle>
        <a:tcBdr/>
      </a:tcStyle>
    </a:lastRow>
    <a:firstRow>
      <a:tcTxStyle b="off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97" autoAdjust="0"/>
    <p:restoredTop sz="94660"/>
  </p:normalViewPr>
  <p:slideViewPr>
    <p:cSldViewPr showGuides="1">
      <p:cViewPr>
        <p:scale>
          <a:sx n="110" d="100"/>
          <a:sy n="110" d="100"/>
        </p:scale>
        <p:origin x="894" y="2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02" d="100"/>
          <a:sy n="102" d="100"/>
        </p:scale>
        <p:origin x="3258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3022" y="357188"/>
            <a:ext cx="5900316" cy="496888"/>
          </a:xfrm>
          <a:prstGeom prst="rect">
            <a:avLst/>
          </a:prstGeom>
        </p:spPr>
        <p:txBody>
          <a:bodyPr vert="horz" lIns="0" tIns="0" rIns="0" bIns="0" rtlCol="0" anchor="t" anchorCtr="0"/>
          <a:lstStyle/>
          <a:p>
            <a:pPr defTabSz="914377"/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 anchorCtr="0"/>
          <a:lstStyle/>
          <a:p>
            <a:pPr defTabSz="914377"/>
            <a:fld id="{B5DEFBAB-FB4D-49BD-8AD6-E81783D0CA4E}" type="slidenum">
              <a:rPr lang="en-US" sz="1000" smtClean="0">
                <a:solidFill>
                  <a:schemeClr val="accent1"/>
                </a:solidFill>
              </a:rPr>
              <a:pPr defTabSz="914377"/>
              <a:t>‹N°›</a:t>
            </a:fld>
            <a:endParaRPr lang="en-US" sz="1000" dirty="0">
              <a:solidFill>
                <a:schemeClr val="accent1"/>
              </a:solidFill>
            </a:endParaRP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1169" y="8316418"/>
            <a:ext cx="1486196" cy="711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1363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87785" y="3165500"/>
            <a:ext cx="5925457" cy="2160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200" b="1">
                <a:solidFill>
                  <a:schemeClr val="accent1"/>
                </a:solidFill>
              </a:defRPr>
            </a:lvl1pPr>
          </a:lstStyle>
          <a:p>
            <a:pPr defTabSz="914377"/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000" smtClean="0">
                <a:solidFill>
                  <a:schemeClr val="accent1"/>
                </a:solidFill>
              </a:defRPr>
            </a:lvl1pPr>
          </a:lstStyle>
          <a:p>
            <a:pPr defTabSz="914377"/>
            <a:fld id="{28182E2C-AC48-45A1-A539-1D63FC6BDE45}" type="slidenum">
              <a:rPr lang="de-DE" smtClean="0"/>
              <a:pPr defTabSz="914377"/>
              <a:t>‹N°›</a:t>
            </a:fld>
            <a:endParaRPr lang="de-DE" dirty="0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487785" y="3525540"/>
            <a:ext cx="5925457" cy="5159673"/>
          </a:xfrm>
          <a:prstGeom prst="rect">
            <a:avLst/>
          </a:prstGeom>
        </p:spPr>
        <p:txBody>
          <a:bodyPr vert="horz" lIns="0" tIns="3600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ck to edit Master text styl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 level</a:t>
            </a:r>
          </a:p>
          <a:p>
            <a:pPr marL="36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rd level</a:t>
            </a:r>
          </a:p>
          <a:p>
            <a:pPr marL="538163" marR="0" lvl="3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urth level</a:t>
            </a:r>
          </a:p>
          <a:p>
            <a:pPr marL="720725" marR="0" lvl="4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fth level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357188"/>
            <a:ext cx="4512734" cy="2538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8844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914400" rtl="0" eaLnBrk="1" fontAlgn="auto" latinLnBrk="0" hangingPunct="1">
      <a:lnSpc>
        <a:spcPct val="100000"/>
      </a:lnSpc>
      <a:spcBef>
        <a:spcPts val="600"/>
      </a:spcBef>
      <a:spcAft>
        <a:spcPts val="300"/>
      </a:spcAft>
      <a:buClrTx/>
      <a:buSzTx/>
      <a:buFont typeface="Arial" panose="020B0604020202020204" pitchFamily="34" charset="0"/>
      <a:buNone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Wingdings" panose="05000000000000000000" pitchFamily="2" charset="2"/>
      <a:buChar char="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8163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de-DE" smtClean="0"/>
              <a:pPr defTabSz="914377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53950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de-DE" smtClean="0"/>
              <a:pPr defTabSz="914377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3254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langle 2"/>
          <p:cNvSpPr/>
          <p:nvPr userDrawn="1"/>
        </p:nvSpPr>
        <p:spPr bwMode="gray">
          <a:xfrm>
            <a:off x="1" y="1885410"/>
            <a:ext cx="1552255" cy="818268"/>
          </a:xfrm>
          <a:custGeom>
            <a:avLst/>
            <a:gdLst/>
            <a:ahLst/>
            <a:cxnLst/>
            <a:rect l="l" t="t" r="r" b="b"/>
            <a:pathLst>
              <a:path w="1552255" h="818268">
                <a:moveTo>
                  <a:pt x="876974" y="0"/>
                </a:moveTo>
                <a:lnTo>
                  <a:pt x="891654" y="0"/>
                </a:lnTo>
                <a:lnTo>
                  <a:pt x="891959" y="0"/>
                </a:lnTo>
                <a:lnTo>
                  <a:pt x="992885" y="327"/>
                </a:lnTo>
                <a:lnTo>
                  <a:pt x="1100691" y="573"/>
                </a:lnTo>
                <a:cubicBezTo>
                  <a:pt x="1118277" y="573"/>
                  <a:pt x="1139838" y="12929"/>
                  <a:pt x="1148401" y="28230"/>
                </a:cubicBezTo>
                <a:lnTo>
                  <a:pt x="1260184" y="222241"/>
                </a:lnTo>
                <a:cubicBezTo>
                  <a:pt x="1268747" y="237460"/>
                  <a:pt x="1268747" y="262172"/>
                  <a:pt x="1259878" y="277473"/>
                </a:cubicBezTo>
                <a:lnTo>
                  <a:pt x="1184795" y="406759"/>
                </a:lnTo>
                <a:cubicBezTo>
                  <a:pt x="1179443" y="416169"/>
                  <a:pt x="1173938" y="425579"/>
                  <a:pt x="1168586" y="434989"/>
                </a:cubicBezTo>
                <a:cubicBezTo>
                  <a:pt x="1166445" y="438753"/>
                  <a:pt x="1164305" y="442435"/>
                  <a:pt x="1162164" y="446200"/>
                </a:cubicBezTo>
                <a:cubicBezTo>
                  <a:pt x="1153295" y="461419"/>
                  <a:pt x="1160329" y="473775"/>
                  <a:pt x="1177761" y="473775"/>
                </a:cubicBezTo>
                <a:lnTo>
                  <a:pt x="1439402" y="474675"/>
                </a:lnTo>
                <a:cubicBezTo>
                  <a:pt x="1456682" y="474675"/>
                  <a:pt x="1478243" y="487276"/>
                  <a:pt x="1487112" y="502578"/>
                </a:cubicBezTo>
                <a:lnTo>
                  <a:pt x="1552255" y="616398"/>
                </a:lnTo>
                <a:cubicBezTo>
                  <a:pt x="1561124" y="631618"/>
                  <a:pt x="1561124" y="656330"/>
                  <a:pt x="1552255" y="671631"/>
                </a:cubicBezTo>
                <a:lnTo>
                  <a:pt x="1486042" y="785124"/>
                </a:lnTo>
                <a:cubicBezTo>
                  <a:pt x="1477632" y="800344"/>
                  <a:pt x="1455917" y="812700"/>
                  <a:pt x="1438485" y="812700"/>
                </a:cubicBezTo>
                <a:lnTo>
                  <a:pt x="1307129" y="812127"/>
                </a:lnTo>
                <a:cubicBezTo>
                  <a:pt x="1289544" y="812127"/>
                  <a:pt x="1267982" y="799771"/>
                  <a:pt x="1259419" y="784470"/>
                </a:cubicBezTo>
                <a:lnTo>
                  <a:pt x="1193971" y="670731"/>
                </a:lnTo>
                <a:cubicBezTo>
                  <a:pt x="1185407" y="655430"/>
                  <a:pt x="1185407" y="630800"/>
                  <a:pt x="1194276" y="615498"/>
                </a:cubicBezTo>
                <a:lnTo>
                  <a:pt x="1245656" y="526717"/>
                </a:lnTo>
                <a:cubicBezTo>
                  <a:pt x="1254526" y="511497"/>
                  <a:pt x="1247491" y="499059"/>
                  <a:pt x="1229753" y="499059"/>
                </a:cubicBezTo>
                <a:lnTo>
                  <a:pt x="986615" y="498159"/>
                </a:lnTo>
                <a:lnTo>
                  <a:pt x="890736" y="498159"/>
                </a:lnTo>
                <a:cubicBezTo>
                  <a:pt x="890430" y="498159"/>
                  <a:pt x="889971" y="497914"/>
                  <a:pt x="889666" y="497914"/>
                </a:cubicBezTo>
                <a:lnTo>
                  <a:pt x="875903" y="497914"/>
                </a:lnTo>
                <a:cubicBezTo>
                  <a:pt x="858318" y="497914"/>
                  <a:pt x="836756" y="485231"/>
                  <a:pt x="828193" y="470256"/>
                </a:cubicBezTo>
                <a:lnTo>
                  <a:pt x="821312" y="458473"/>
                </a:lnTo>
                <a:lnTo>
                  <a:pt x="744700" y="325096"/>
                </a:lnTo>
                <a:cubicBezTo>
                  <a:pt x="731702" y="302676"/>
                  <a:pt x="710600" y="302676"/>
                  <a:pt x="697602" y="325096"/>
                </a:cubicBezTo>
                <a:lnTo>
                  <a:pt x="434279" y="777760"/>
                </a:lnTo>
                <a:cubicBezTo>
                  <a:pt x="421128" y="800344"/>
                  <a:pt x="389321" y="818591"/>
                  <a:pt x="363325" y="818264"/>
                </a:cubicBezTo>
                <a:lnTo>
                  <a:pt x="0" y="818035"/>
                </a:lnTo>
                <a:lnTo>
                  <a:pt x="0" y="86319"/>
                </a:lnTo>
                <a:lnTo>
                  <a:pt x="17274" y="81417"/>
                </a:lnTo>
                <a:cubicBezTo>
                  <a:pt x="65443" y="78717"/>
                  <a:pt x="234569" y="81581"/>
                  <a:pt x="343140" y="81663"/>
                </a:cubicBezTo>
                <a:lnTo>
                  <a:pt x="365160" y="81663"/>
                </a:lnTo>
                <a:cubicBezTo>
                  <a:pt x="391003" y="81990"/>
                  <a:pt x="422810" y="100156"/>
                  <a:pt x="435655" y="122903"/>
                </a:cubicBezTo>
                <a:lnTo>
                  <a:pt x="579856" y="373047"/>
                </a:lnTo>
                <a:cubicBezTo>
                  <a:pt x="592395" y="395303"/>
                  <a:pt x="613650" y="395303"/>
                  <a:pt x="626801" y="373047"/>
                </a:cubicBezTo>
                <a:lnTo>
                  <a:pt x="810608" y="59324"/>
                </a:lnTo>
                <a:lnTo>
                  <a:pt x="829111" y="27330"/>
                </a:lnTo>
                <a:cubicBezTo>
                  <a:pt x="837827" y="12356"/>
                  <a:pt x="859388" y="0"/>
                  <a:pt x="876974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37"/>
          <p:cNvSpPr>
            <a:spLocks/>
          </p:cNvSpPr>
          <p:nvPr userDrawn="1"/>
        </p:nvSpPr>
        <p:spPr bwMode="gray">
          <a:xfrm>
            <a:off x="495022" y="2449806"/>
            <a:ext cx="853273" cy="938466"/>
          </a:xfrm>
          <a:custGeom>
            <a:avLst/>
            <a:gdLst>
              <a:gd name="T0" fmla="*/ 2900 w 2953"/>
              <a:gd name="T1" fmla="*/ 2800 h 2900"/>
              <a:gd name="T2" fmla="*/ 2620 w 2953"/>
              <a:gd name="T3" fmla="*/ 2639 h 2900"/>
              <a:gd name="T4" fmla="*/ 1478 w 2953"/>
              <a:gd name="T5" fmla="*/ 2637 h 2900"/>
              <a:gd name="T6" fmla="*/ 1385 w 2953"/>
              <a:gd name="T7" fmla="*/ 2476 h 2900"/>
              <a:gd name="T8" fmla="*/ 2148 w 2953"/>
              <a:gd name="T9" fmla="*/ 1150 h 2900"/>
              <a:gd name="T10" fmla="*/ 2148 w 2953"/>
              <a:gd name="T11" fmla="*/ 828 h 2900"/>
              <a:gd name="T12" fmla="*/ 1764 w 2953"/>
              <a:gd name="T13" fmla="*/ 162 h 2900"/>
              <a:gd name="T14" fmla="*/ 1485 w 2953"/>
              <a:gd name="T15" fmla="*/ 0 h 2900"/>
              <a:gd name="T16" fmla="*/ 715 w 2953"/>
              <a:gd name="T17" fmla="*/ 0 h 2900"/>
              <a:gd name="T18" fmla="*/ 436 w 2953"/>
              <a:gd name="T19" fmla="*/ 161 h 2900"/>
              <a:gd name="T20" fmla="*/ 51 w 2953"/>
              <a:gd name="T21" fmla="*/ 827 h 2900"/>
              <a:gd name="T22" fmla="*/ 51 w 2953"/>
              <a:gd name="T23" fmla="*/ 1150 h 2900"/>
              <a:gd name="T24" fmla="*/ 436 w 2953"/>
              <a:gd name="T25" fmla="*/ 1816 h 2900"/>
              <a:gd name="T26" fmla="*/ 715 w 2953"/>
              <a:gd name="T27" fmla="*/ 1977 h 2900"/>
              <a:gd name="T28" fmla="*/ 1317 w 2953"/>
              <a:gd name="T29" fmla="*/ 1977 h 2900"/>
              <a:gd name="T30" fmla="*/ 1410 w 2953"/>
              <a:gd name="T31" fmla="*/ 2139 h 2900"/>
              <a:gd name="T32" fmla="*/ 972 w 2953"/>
              <a:gd name="T33" fmla="*/ 2900 h 2900"/>
              <a:gd name="T34" fmla="*/ 2953 w 2953"/>
              <a:gd name="T35" fmla="*/ 2893 h 2900"/>
              <a:gd name="T36" fmla="*/ 2900 w 2953"/>
              <a:gd name="T37" fmla="*/ 2800 h 2900"/>
              <a:gd name="connsiteX0" fmla="*/ 9648 w 9827"/>
              <a:gd name="connsiteY0" fmla="*/ 9655 h 11005"/>
              <a:gd name="connsiteX1" fmla="*/ 8699 w 9827"/>
              <a:gd name="connsiteY1" fmla="*/ 9100 h 11005"/>
              <a:gd name="connsiteX2" fmla="*/ 4832 w 9827"/>
              <a:gd name="connsiteY2" fmla="*/ 9093 h 11005"/>
              <a:gd name="connsiteX3" fmla="*/ 4517 w 9827"/>
              <a:gd name="connsiteY3" fmla="*/ 8538 h 11005"/>
              <a:gd name="connsiteX4" fmla="*/ 7101 w 9827"/>
              <a:gd name="connsiteY4" fmla="*/ 3966 h 11005"/>
              <a:gd name="connsiteX5" fmla="*/ 7101 w 9827"/>
              <a:gd name="connsiteY5" fmla="*/ 2855 h 11005"/>
              <a:gd name="connsiteX6" fmla="*/ 5801 w 9827"/>
              <a:gd name="connsiteY6" fmla="*/ 559 h 11005"/>
              <a:gd name="connsiteX7" fmla="*/ 4856 w 9827"/>
              <a:gd name="connsiteY7" fmla="*/ 0 h 11005"/>
              <a:gd name="connsiteX8" fmla="*/ 2248 w 9827"/>
              <a:gd name="connsiteY8" fmla="*/ 0 h 11005"/>
              <a:gd name="connsiteX9" fmla="*/ 1303 w 9827"/>
              <a:gd name="connsiteY9" fmla="*/ 555 h 11005"/>
              <a:gd name="connsiteX10" fmla="*/ 0 w 9827"/>
              <a:gd name="connsiteY10" fmla="*/ 2852 h 11005"/>
              <a:gd name="connsiteX11" fmla="*/ 0 w 9827"/>
              <a:gd name="connsiteY11" fmla="*/ 3966 h 11005"/>
              <a:gd name="connsiteX12" fmla="*/ 1303 w 9827"/>
              <a:gd name="connsiteY12" fmla="*/ 6262 h 11005"/>
              <a:gd name="connsiteX13" fmla="*/ 2248 w 9827"/>
              <a:gd name="connsiteY13" fmla="*/ 6817 h 11005"/>
              <a:gd name="connsiteX14" fmla="*/ 4287 w 9827"/>
              <a:gd name="connsiteY14" fmla="*/ 6817 h 11005"/>
              <a:gd name="connsiteX15" fmla="*/ 4602 w 9827"/>
              <a:gd name="connsiteY15" fmla="*/ 7376 h 11005"/>
              <a:gd name="connsiteX16" fmla="*/ 2497 w 9827"/>
              <a:gd name="connsiteY16" fmla="*/ 11005 h 11005"/>
              <a:gd name="connsiteX17" fmla="*/ 9827 w 9827"/>
              <a:gd name="connsiteY17" fmla="*/ 9976 h 11005"/>
              <a:gd name="connsiteX18" fmla="*/ 9648 w 9827"/>
              <a:gd name="connsiteY18" fmla="*/ 9655 h 1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827" h="11005">
                <a:moveTo>
                  <a:pt x="9648" y="9655"/>
                </a:moveTo>
                <a:cubicBezTo>
                  <a:pt x="9471" y="9348"/>
                  <a:pt x="9048" y="9100"/>
                  <a:pt x="8699" y="9100"/>
                </a:cubicBezTo>
                <a:lnTo>
                  <a:pt x="4832" y="9093"/>
                </a:lnTo>
                <a:cubicBezTo>
                  <a:pt x="4487" y="9093"/>
                  <a:pt x="4344" y="8845"/>
                  <a:pt x="4517" y="8538"/>
                </a:cubicBezTo>
                <a:lnTo>
                  <a:pt x="7101" y="3966"/>
                </a:lnTo>
                <a:cubicBezTo>
                  <a:pt x="7277" y="3662"/>
                  <a:pt x="7277" y="3159"/>
                  <a:pt x="7101" y="2855"/>
                </a:cubicBezTo>
                <a:lnTo>
                  <a:pt x="5801" y="559"/>
                </a:lnTo>
                <a:cubicBezTo>
                  <a:pt x="5628" y="252"/>
                  <a:pt x="5201" y="0"/>
                  <a:pt x="4856" y="0"/>
                </a:cubicBezTo>
                <a:lnTo>
                  <a:pt x="2248" y="0"/>
                </a:lnTo>
                <a:cubicBezTo>
                  <a:pt x="1903" y="0"/>
                  <a:pt x="1476" y="252"/>
                  <a:pt x="1303" y="555"/>
                </a:cubicBezTo>
                <a:lnTo>
                  <a:pt x="0" y="2852"/>
                </a:lnTo>
                <a:cubicBezTo>
                  <a:pt x="-173" y="3159"/>
                  <a:pt x="-173" y="3659"/>
                  <a:pt x="0" y="3966"/>
                </a:cubicBezTo>
                <a:lnTo>
                  <a:pt x="1303" y="6262"/>
                </a:lnTo>
                <a:cubicBezTo>
                  <a:pt x="1476" y="6569"/>
                  <a:pt x="1903" y="6817"/>
                  <a:pt x="2248" y="6817"/>
                </a:cubicBezTo>
                <a:lnTo>
                  <a:pt x="4287" y="6817"/>
                </a:lnTo>
                <a:cubicBezTo>
                  <a:pt x="4632" y="6817"/>
                  <a:pt x="4900" y="6678"/>
                  <a:pt x="4602" y="7376"/>
                </a:cubicBezTo>
                <a:cubicBezTo>
                  <a:pt x="4304" y="8074"/>
                  <a:pt x="2497" y="11005"/>
                  <a:pt x="2497" y="11005"/>
                </a:cubicBezTo>
                <a:cubicBezTo>
                  <a:pt x="9205" y="10981"/>
                  <a:pt x="9827" y="9976"/>
                  <a:pt x="9827" y="9976"/>
                </a:cubicBezTo>
                <a:lnTo>
                  <a:pt x="9648" y="9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34"/>
          <p:cNvSpPr>
            <a:spLocks/>
          </p:cNvSpPr>
          <p:nvPr userDrawn="1"/>
        </p:nvSpPr>
        <p:spPr bwMode="gray">
          <a:xfrm>
            <a:off x="3009726" y="3438341"/>
            <a:ext cx="957975" cy="1060490"/>
          </a:xfrm>
          <a:custGeom>
            <a:avLst/>
            <a:gdLst>
              <a:gd name="T0" fmla="*/ 1071 w 3325"/>
              <a:gd name="T1" fmla="*/ 3118 h 3410"/>
              <a:gd name="T2" fmla="*/ 1238 w 3325"/>
              <a:gd name="T3" fmla="*/ 3410 h 3410"/>
              <a:gd name="T4" fmla="*/ 1068 w 3325"/>
              <a:gd name="T5" fmla="*/ 3410 h 3410"/>
              <a:gd name="T6" fmla="*/ 52 w 3325"/>
              <a:gd name="T7" fmla="*/ 1638 h 3410"/>
              <a:gd name="T8" fmla="*/ 52 w 3325"/>
              <a:gd name="T9" fmla="*/ 1311 h 3410"/>
              <a:gd name="T10" fmla="*/ 719 w 3325"/>
              <a:gd name="T11" fmla="*/ 163 h 3410"/>
              <a:gd name="T12" fmla="*/ 1002 w 3325"/>
              <a:gd name="T13" fmla="*/ 0 h 3410"/>
              <a:gd name="T14" fmla="*/ 2330 w 3325"/>
              <a:gd name="T15" fmla="*/ 3 h 3410"/>
              <a:gd name="T16" fmla="*/ 2613 w 3325"/>
              <a:gd name="T17" fmla="*/ 167 h 3410"/>
              <a:gd name="T18" fmla="*/ 3274 w 3325"/>
              <a:gd name="T19" fmla="*/ 1318 h 3410"/>
              <a:gd name="T20" fmla="*/ 3273 w 3325"/>
              <a:gd name="T21" fmla="*/ 1645 h 3410"/>
              <a:gd name="T22" fmla="*/ 2607 w 3325"/>
              <a:gd name="T23" fmla="*/ 2793 h 3410"/>
              <a:gd name="T24" fmla="*/ 2323 w 3325"/>
              <a:gd name="T25" fmla="*/ 2956 h 3410"/>
              <a:gd name="T26" fmla="*/ 1166 w 3325"/>
              <a:gd name="T27" fmla="*/ 2955 h 3410"/>
              <a:gd name="T28" fmla="*/ 1071 w 3325"/>
              <a:gd name="T29" fmla="*/ 3118 h 3410"/>
              <a:gd name="connsiteX0" fmla="*/ 3065 w 9805"/>
              <a:gd name="connsiteY0" fmla="*/ 9144 h 10585"/>
              <a:gd name="connsiteX1" fmla="*/ 3567 w 9805"/>
              <a:gd name="connsiteY1" fmla="*/ 10000 h 10585"/>
              <a:gd name="connsiteX2" fmla="*/ 3674 w 9805"/>
              <a:gd name="connsiteY2" fmla="*/ 10460 h 10585"/>
              <a:gd name="connsiteX3" fmla="*/ 3056 w 9805"/>
              <a:gd name="connsiteY3" fmla="*/ 10000 h 10585"/>
              <a:gd name="connsiteX4" fmla="*/ 0 w 9805"/>
              <a:gd name="connsiteY4" fmla="*/ 4804 h 10585"/>
              <a:gd name="connsiteX5" fmla="*/ 0 w 9805"/>
              <a:gd name="connsiteY5" fmla="*/ 3845 h 10585"/>
              <a:gd name="connsiteX6" fmla="*/ 2006 w 9805"/>
              <a:gd name="connsiteY6" fmla="*/ 478 h 10585"/>
              <a:gd name="connsiteX7" fmla="*/ 2858 w 9805"/>
              <a:gd name="connsiteY7" fmla="*/ 0 h 10585"/>
              <a:gd name="connsiteX8" fmla="*/ 6852 w 9805"/>
              <a:gd name="connsiteY8" fmla="*/ 9 h 10585"/>
              <a:gd name="connsiteX9" fmla="*/ 7703 w 9805"/>
              <a:gd name="connsiteY9" fmla="*/ 490 h 10585"/>
              <a:gd name="connsiteX10" fmla="*/ 9691 w 9805"/>
              <a:gd name="connsiteY10" fmla="*/ 3865 h 10585"/>
              <a:gd name="connsiteX11" fmla="*/ 9688 w 9805"/>
              <a:gd name="connsiteY11" fmla="*/ 4824 h 10585"/>
              <a:gd name="connsiteX12" fmla="*/ 7685 w 9805"/>
              <a:gd name="connsiteY12" fmla="*/ 8191 h 10585"/>
              <a:gd name="connsiteX13" fmla="*/ 6830 w 9805"/>
              <a:gd name="connsiteY13" fmla="*/ 8669 h 10585"/>
              <a:gd name="connsiteX14" fmla="*/ 3351 w 9805"/>
              <a:gd name="connsiteY14" fmla="*/ 8666 h 10585"/>
              <a:gd name="connsiteX15" fmla="*/ 3065 w 9805"/>
              <a:gd name="connsiteY15" fmla="*/ 9144 h 10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805" h="10585">
                <a:moveTo>
                  <a:pt x="3065" y="9144"/>
                </a:moveTo>
                <a:cubicBezTo>
                  <a:pt x="3567" y="10000"/>
                  <a:pt x="3466" y="9781"/>
                  <a:pt x="3567" y="10000"/>
                </a:cubicBezTo>
                <a:cubicBezTo>
                  <a:pt x="3668" y="10219"/>
                  <a:pt x="3768" y="10465"/>
                  <a:pt x="3674" y="10460"/>
                </a:cubicBezTo>
                <a:cubicBezTo>
                  <a:pt x="3598" y="10465"/>
                  <a:pt x="3668" y="10942"/>
                  <a:pt x="3056" y="10000"/>
                </a:cubicBezTo>
                <a:cubicBezTo>
                  <a:pt x="2444" y="9058"/>
                  <a:pt x="0" y="4804"/>
                  <a:pt x="0" y="4804"/>
                </a:cubicBezTo>
                <a:cubicBezTo>
                  <a:pt x="-156" y="4540"/>
                  <a:pt x="-156" y="4109"/>
                  <a:pt x="0" y="3845"/>
                </a:cubicBezTo>
                <a:lnTo>
                  <a:pt x="2006" y="478"/>
                </a:lnTo>
                <a:cubicBezTo>
                  <a:pt x="2163" y="214"/>
                  <a:pt x="2548" y="0"/>
                  <a:pt x="2858" y="0"/>
                </a:cubicBezTo>
                <a:lnTo>
                  <a:pt x="6852" y="9"/>
                </a:lnTo>
                <a:cubicBezTo>
                  <a:pt x="7164" y="9"/>
                  <a:pt x="7546" y="226"/>
                  <a:pt x="7703" y="490"/>
                </a:cubicBezTo>
                <a:lnTo>
                  <a:pt x="9691" y="3865"/>
                </a:lnTo>
                <a:cubicBezTo>
                  <a:pt x="9844" y="4129"/>
                  <a:pt x="9844" y="4560"/>
                  <a:pt x="9688" y="4824"/>
                </a:cubicBezTo>
                <a:lnTo>
                  <a:pt x="7685" y="8191"/>
                </a:lnTo>
                <a:cubicBezTo>
                  <a:pt x="7525" y="8455"/>
                  <a:pt x="7143" y="8669"/>
                  <a:pt x="6830" y="8669"/>
                </a:cubicBezTo>
                <a:lnTo>
                  <a:pt x="3351" y="8666"/>
                </a:lnTo>
                <a:cubicBezTo>
                  <a:pt x="3038" y="8663"/>
                  <a:pt x="2912" y="8880"/>
                  <a:pt x="3065" y="91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9375" y="3645000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  <a:br>
              <a:rPr lang="en-US" noProof="0" dirty="0" smtClean="0"/>
            </a:br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60000" y="2781000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60000" y="1628800"/>
            <a:ext cx="6408113" cy="1152887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665" y="5341463"/>
            <a:ext cx="2520000" cy="1254424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>
            <a:spLocks noEditPoints="1"/>
          </p:cNvSpPr>
          <p:nvPr userDrawn="1"/>
        </p:nvSpPr>
        <p:spPr bwMode="gray">
          <a:xfrm>
            <a:off x="463543" y="486048"/>
            <a:ext cx="4883069" cy="5475233"/>
          </a:xfrm>
          <a:custGeom>
            <a:avLst/>
            <a:gdLst>
              <a:gd name="T0" fmla="*/ 1263 w 1588"/>
              <a:gd name="T1" fmla="*/ 1439 h 1779"/>
              <a:gd name="T2" fmla="*/ 1172 w 1588"/>
              <a:gd name="T3" fmla="*/ 1552 h 1779"/>
              <a:gd name="T4" fmla="*/ 1028 w 1588"/>
              <a:gd name="T5" fmla="*/ 1530 h 1779"/>
              <a:gd name="T6" fmla="*/ 897 w 1588"/>
              <a:gd name="T7" fmla="*/ 1348 h 1779"/>
              <a:gd name="T8" fmla="*/ 781 w 1588"/>
              <a:gd name="T9" fmla="*/ 1506 h 1779"/>
              <a:gd name="T10" fmla="*/ 563 w 1588"/>
              <a:gd name="T11" fmla="*/ 1484 h 1779"/>
              <a:gd name="T12" fmla="*/ 473 w 1588"/>
              <a:gd name="T13" fmla="*/ 1284 h 1779"/>
              <a:gd name="T14" fmla="*/ 601 w 1588"/>
              <a:gd name="T15" fmla="*/ 1106 h 1779"/>
              <a:gd name="T16" fmla="*/ 819 w 1588"/>
              <a:gd name="T17" fmla="*/ 1128 h 1779"/>
              <a:gd name="T18" fmla="*/ 987 w 1588"/>
              <a:gd name="T19" fmla="*/ 1374 h 1779"/>
              <a:gd name="T20" fmla="*/ 1066 w 1588"/>
              <a:gd name="T21" fmla="*/ 1281 h 1779"/>
              <a:gd name="T22" fmla="*/ 1210 w 1588"/>
              <a:gd name="T23" fmla="*/ 1303 h 1779"/>
              <a:gd name="T24" fmla="*/ 463 w 1588"/>
              <a:gd name="T25" fmla="*/ 891 h 1779"/>
              <a:gd name="T26" fmla="*/ 551 w 1588"/>
              <a:gd name="T27" fmla="*/ 667 h 1779"/>
              <a:gd name="T28" fmla="*/ 962 w 1588"/>
              <a:gd name="T29" fmla="*/ 629 h 1779"/>
              <a:gd name="T30" fmla="*/ 854 w 1588"/>
              <a:gd name="T31" fmla="*/ 368 h 1779"/>
              <a:gd name="T32" fmla="*/ 1003 w 1588"/>
              <a:gd name="T33" fmla="*/ 36 h 1779"/>
              <a:gd name="T34" fmla="*/ 1364 w 1588"/>
              <a:gd name="T35" fmla="*/ 0 h 1779"/>
              <a:gd name="T36" fmla="*/ 1577 w 1588"/>
              <a:gd name="T37" fmla="*/ 294 h 1779"/>
              <a:gd name="T38" fmla="*/ 1428 w 1588"/>
              <a:gd name="T39" fmla="*/ 626 h 1779"/>
              <a:gd name="T40" fmla="*/ 893 w 1588"/>
              <a:gd name="T41" fmla="*/ 663 h 1779"/>
              <a:gd name="T42" fmla="*/ 940 w 1588"/>
              <a:gd name="T43" fmla="*/ 818 h 1779"/>
              <a:gd name="T44" fmla="*/ 853 w 1588"/>
              <a:gd name="T45" fmla="*/ 1043 h 1779"/>
              <a:gd name="T46" fmla="*/ 614 w 1588"/>
              <a:gd name="T47" fmla="*/ 1079 h 1779"/>
              <a:gd name="T48" fmla="*/ 463 w 1588"/>
              <a:gd name="T49" fmla="*/ 891 h 1779"/>
              <a:gd name="T50" fmla="*/ 117 w 1588"/>
              <a:gd name="T51" fmla="*/ 884 h 1779"/>
              <a:gd name="T52" fmla="*/ 381 w 1588"/>
              <a:gd name="T53" fmla="*/ 857 h 1779"/>
              <a:gd name="T54" fmla="*/ 536 w 1588"/>
              <a:gd name="T55" fmla="*/ 1073 h 1779"/>
              <a:gd name="T56" fmla="*/ 364 w 1588"/>
              <a:gd name="T57" fmla="*/ 1424 h 1779"/>
              <a:gd name="T58" fmla="*/ 479 w 1588"/>
              <a:gd name="T59" fmla="*/ 1451 h 1779"/>
              <a:gd name="T60" fmla="*/ 590 w 1588"/>
              <a:gd name="T61" fmla="*/ 1588 h 1779"/>
              <a:gd name="T62" fmla="*/ 526 w 1588"/>
              <a:gd name="T63" fmla="*/ 1752 h 1779"/>
              <a:gd name="T64" fmla="*/ 352 w 1588"/>
              <a:gd name="T65" fmla="*/ 1779 h 1779"/>
              <a:gd name="T66" fmla="*/ 242 w 1588"/>
              <a:gd name="T67" fmla="*/ 1642 h 1779"/>
              <a:gd name="T68" fmla="*/ 368 w 1588"/>
              <a:gd name="T69" fmla="*/ 1368 h 1779"/>
              <a:gd name="T70" fmla="*/ 163 w 1588"/>
              <a:gd name="T71" fmla="*/ 1341 h 1779"/>
              <a:gd name="T72" fmla="*/ 8 w 1588"/>
              <a:gd name="T73" fmla="*/ 1126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8" h="1779">
                <a:moveTo>
                  <a:pt x="1263" y="1394"/>
                </a:moveTo>
                <a:cubicBezTo>
                  <a:pt x="1270" y="1406"/>
                  <a:pt x="1270" y="1426"/>
                  <a:pt x="1263" y="1439"/>
                </a:cubicBezTo>
                <a:cubicBezTo>
                  <a:pt x="1210" y="1530"/>
                  <a:pt x="1210" y="1530"/>
                  <a:pt x="1210" y="1530"/>
                </a:cubicBezTo>
                <a:cubicBezTo>
                  <a:pt x="1203" y="1542"/>
                  <a:pt x="1186" y="1552"/>
                  <a:pt x="1172" y="1552"/>
                </a:cubicBezTo>
                <a:cubicBezTo>
                  <a:pt x="1066" y="1552"/>
                  <a:pt x="1066" y="1552"/>
                  <a:pt x="1066" y="1552"/>
                </a:cubicBezTo>
                <a:cubicBezTo>
                  <a:pt x="1052" y="1552"/>
                  <a:pt x="1035" y="1542"/>
                  <a:pt x="1028" y="1530"/>
                </a:cubicBezTo>
                <a:cubicBezTo>
                  <a:pt x="923" y="1348"/>
                  <a:pt x="923" y="1348"/>
                  <a:pt x="923" y="1348"/>
                </a:cubicBezTo>
                <a:cubicBezTo>
                  <a:pt x="916" y="1336"/>
                  <a:pt x="904" y="1336"/>
                  <a:pt x="897" y="1348"/>
                </a:cubicBezTo>
                <a:cubicBezTo>
                  <a:pt x="819" y="1484"/>
                  <a:pt x="819" y="1484"/>
                  <a:pt x="819" y="1484"/>
                </a:cubicBezTo>
                <a:cubicBezTo>
                  <a:pt x="812" y="1496"/>
                  <a:pt x="795" y="1506"/>
                  <a:pt x="781" y="1506"/>
                </a:cubicBezTo>
                <a:cubicBezTo>
                  <a:pt x="601" y="1506"/>
                  <a:pt x="601" y="1506"/>
                  <a:pt x="601" y="1506"/>
                </a:cubicBezTo>
                <a:cubicBezTo>
                  <a:pt x="587" y="1506"/>
                  <a:pt x="570" y="1496"/>
                  <a:pt x="563" y="1484"/>
                </a:cubicBezTo>
                <a:cubicBezTo>
                  <a:pt x="473" y="1328"/>
                  <a:pt x="473" y="1328"/>
                  <a:pt x="473" y="1328"/>
                </a:cubicBezTo>
                <a:cubicBezTo>
                  <a:pt x="466" y="1316"/>
                  <a:pt x="466" y="1296"/>
                  <a:pt x="473" y="1284"/>
                </a:cubicBezTo>
                <a:cubicBezTo>
                  <a:pt x="563" y="1128"/>
                  <a:pt x="563" y="1128"/>
                  <a:pt x="563" y="1128"/>
                </a:cubicBezTo>
                <a:cubicBezTo>
                  <a:pt x="570" y="1116"/>
                  <a:pt x="587" y="1106"/>
                  <a:pt x="601" y="1106"/>
                </a:cubicBezTo>
                <a:cubicBezTo>
                  <a:pt x="781" y="1106"/>
                  <a:pt x="781" y="1106"/>
                  <a:pt x="781" y="1106"/>
                </a:cubicBezTo>
                <a:cubicBezTo>
                  <a:pt x="795" y="1106"/>
                  <a:pt x="812" y="1116"/>
                  <a:pt x="819" y="1128"/>
                </a:cubicBezTo>
                <a:cubicBezTo>
                  <a:pt x="961" y="1374"/>
                  <a:pt x="961" y="1374"/>
                  <a:pt x="961" y="1374"/>
                </a:cubicBezTo>
                <a:cubicBezTo>
                  <a:pt x="968" y="1387"/>
                  <a:pt x="980" y="1387"/>
                  <a:pt x="987" y="1374"/>
                </a:cubicBezTo>
                <a:cubicBezTo>
                  <a:pt x="1028" y="1303"/>
                  <a:pt x="1028" y="1303"/>
                  <a:pt x="1028" y="1303"/>
                </a:cubicBezTo>
                <a:cubicBezTo>
                  <a:pt x="1035" y="1291"/>
                  <a:pt x="1052" y="1281"/>
                  <a:pt x="1066" y="1281"/>
                </a:cubicBezTo>
                <a:cubicBezTo>
                  <a:pt x="1172" y="1281"/>
                  <a:pt x="1172" y="1281"/>
                  <a:pt x="1172" y="1281"/>
                </a:cubicBezTo>
                <a:cubicBezTo>
                  <a:pt x="1186" y="1281"/>
                  <a:pt x="1203" y="1291"/>
                  <a:pt x="1210" y="1303"/>
                </a:cubicBezTo>
                <a:lnTo>
                  <a:pt x="1263" y="1394"/>
                </a:lnTo>
                <a:close/>
                <a:moveTo>
                  <a:pt x="463" y="891"/>
                </a:moveTo>
                <a:cubicBezTo>
                  <a:pt x="452" y="871"/>
                  <a:pt x="452" y="838"/>
                  <a:pt x="463" y="818"/>
                </a:cubicBezTo>
                <a:cubicBezTo>
                  <a:pt x="551" y="667"/>
                  <a:pt x="551" y="667"/>
                  <a:pt x="551" y="667"/>
                </a:cubicBezTo>
                <a:cubicBezTo>
                  <a:pt x="562" y="646"/>
                  <a:pt x="591" y="630"/>
                  <a:pt x="614" y="630"/>
                </a:cubicBezTo>
                <a:cubicBezTo>
                  <a:pt x="962" y="629"/>
                  <a:pt x="962" y="629"/>
                  <a:pt x="962" y="629"/>
                </a:cubicBezTo>
                <a:cubicBezTo>
                  <a:pt x="985" y="629"/>
                  <a:pt x="995" y="613"/>
                  <a:pt x="983" y="593"/>
                </a:cubicBezTo>
                <a:cubicBezTo>
                  <a:pt x="854" y="368"/>
                  <a:pt x="854" y="368"/>
                  <a:pt x="854" y="368"/>
                </a:cubicBezTo>
                <a:cubicBezTo>
                  <a:pt x="842" y="347"/>
                  <a:pt x="842" y="314"/>
                  <a:pt x="854" y="294"/>
                </a:cubicBezTo>
                <a:cubicBezTo>
                  <a:pt x="1003" y="36"/>
                  <a:pt x="1003" y="36"/>
                  <a:pt x="1003" y="36"/>
                </a:cubicBezTo>
                <a:cubicBezTo>
                  <a:pt x="1014" y="16"/>
                  <a:pt x="1043" y="0"/>
                  <a:pt x="1066" y="0"/>
                </a:cubicBezTo>
                <a:cubicBezTo>
                  <a:pt x="1364" y="0"/>
                  <a:pt x="1364" y="0"/>
                  <a:pt x="1364" y="0"/>
                </a:cubicBezTo>
                <a:cubicBezTo>
                  <a:pt x="1387" y="0"/>
                  <a:pt x="1416" y="16"/>
                  <a:pt x="1428" y="36"/>
                </a:cubicBezTo>
                <a:cubicBezTo>
                  <a:pt x="1577" y="294"/>
                  <a:pt x="1577" y="294"/>
                  <a:pt x="1577" y="294"/>
                </a:cubicBezTo>
                <a:cubicBezTo>
                  <a:pt x="1588" y="314"/>
                  <a:pt x="1588" y="347"/>
                  <a:pt x="1577" y="368"/>
                </a:cubicBezTo>
                <a:cubicBezTo>
                  <a:pt x="1428" y="626"/>
                  <a:pt x="1428" y="626"/>
                  <a:pt x="1428" y="626"/>
                </a:cubicBezTo>
                <a:cubicBezTo>
                  <a:pt x="1416" y="646"/>
                  <a:pt x="1387" y="662"/>
                  <a:pt x="1364" y="662"/>
                </a:cubicBezTo>
                <a:cubicBezTo>
                  <a:pt x="893" y="663"/>
                  <a:pt x="893" y="663"/>
                  <a:pt x="893" y="663"/>
                </a:cubicBezTo>
                <a:cubicBezTo>
                  <a:pt x="870" y="663"/>
                  <a:pt x="860" y="679"/>
                  <a:pt x="872" y="699"/>
                </a:cubicBezTo>
                <a:cubicBezTo>
                  <a:pt x="940" y="818"/>
                  <a:pt x="940" y="818"/>
                  <a:pt x="940" y="818"/>
                </a:cubicBezTo>
                <a:cubicBezTo>
                  <a:pt x="952" y="838"/>
                  <a:pt x="952" y="871"/>
                  <a:pt x="940" y="891"/>
                </a:cubicBezTo>
                <a:cubicBezTo>
                  <a:pt x="853" y="1043"/>
                  <a:pt x="853" y="1043"/>
                  <a:pt x="853" y="1043"/>
                </a:cubicBezTo>
                <a:cubicBezTo>
                  <a:pt x="841" y="1063"/>
                  <a:pt x="812" y="1079"/>
                  <a:pt x="789" y="1079"/>
                </a:cubicBezTo>
                <a:cubicBezTo>
                  <a:pt x="614" y="1079"/>
                  <a:pt x="614" y="1079"/>
                  <a:pt x="614" y="1079"/>
                </a:cubicBezTo>
                <a:cubicBezTo>
                  <a:pt x="591" y="1079"/>
                  <a:pt x="562" y="1063"/>
                  <a:pt x="551" y="1043"/>
                </a:cubicBezTo>
                <a:lnTo>
                  <a:pt x="463" y="891"/>
                </a:lnTo>
                <a:close/>
                <a:moveTo>
                  <a:pt x="8" y="1073"/>
                </a:moveTo>
                <a:cubicBezTo>
                  <a:pt x="117" y="884"/>
                  <a:pt x="117" y="884"/>
                  <a:pt x="117" y="884"/>
                </a:cubicBezTo>
                <a:cubicBezTo>
                  <a:pt x="125" y="869"/>
                  <a:pt x="146" y="857"/>
                  <a:pt x="163" y="857"/>
                </a:cubicBezTo>
                <a:cubicBezTo>
                  <a:pt x="381" y="857"/>
                  <a:pt x="381" y="857"/>
                  <a:pt x="381" y="857"/>
                </a:cubicBezTo>
                <a:cubicBezTo>
                  <a:pt x="398" y="857"/>
                  <a:pt x="418" y="869"/>
                  <a:pt x="427" y="884"/>
                </a:cubicBezTo>
                <a:cubicBezTo>
                  <a:pt x="536" y="1073"/>
                  <a:pt x="536" y="1073"/>
                  <a:pt x="536" y="1073"/>
                </a:cubicBezTo>
                <a:cubicBezTo>
                  <a:pt x="544" y="1087"/>
                  <a:pt x="544" y="1111"/>
                  <a:pt x="536" y="1126"/>
                </a:cubicBezTo>
                <a:cubicBezTo>
                  <a:pt x="364" y="1424"/>
                  <a:pt x="364" y="1424"/>
                  <a:pt x="364" y="1424"/>
                </a:cubicBezTo>
                <a:cubicBezTo>
                  <a:pt x="356" y="1439"/>
                  <a:pt x="362" y="1451"/>
                  <a:pt x="379" y="1451"/>
                </a:cubicBezTo>
                <a:cubicBezTo>
                  <a:pt x="479" y="1451"/>
                  <a:pt x="479" y="1451"/>
                  <a:pt x="479" y="1451"/>
                </a:cubicBezTo>
                <a:cubicBezTo>
                  <a:pt x="496" y="1451"/>
                  <a:pt x="517" y="1463"/>
                  <a:pt x="526" y="1478"/>
                </a:cubicBezTo>
                <a:cubicBezTo>
                  <a:pt x="590" y="1588"/>
                  <a:pt x="590" y="1588"/>
                  <a:pt x="590" y="1588"/>
                </a:cubicBezTo>
                <a:cubicBezTo>
                  <a:pt x="598" y="1603"/>
                  <a:pt x="598" y="1627"/>
                  <a:pt x="590" y="1642"/>
                </a:cubicBezTo>
                <a:cubicBezTo>
                  <a:pt x="526" y="1752"/>
                  <a:pt x="526" y="1752"/>
                  <a:pt x="526" y="1752"/>
                </a:cubicBezTo>
                <a:cubicBezTo>
                  <a:pt x="517" y="1767"/>
                  <a:pt x="496" y="1779"/>
                  <a:pt x="479" y="1779"/>
                </a:cubicBezTo>
                <a:cubicBezTo>
                  <a:pt x="352" y="1779"/>
                  <a:pt x="352" y="1779"/>
                  <a:pt x="352" y="1779"/>
                </a:cubicBezTo>
                <a:cubicBezTo>
                  <a:pt x="335" y="1779"/>
                  <a:pt x="314" y="1767"/>
                  <a:pt x="305" y="1752"/>
                </a:cubicBezTo>
                <a:cubicBezTo>
                  <a:pt x="242" y="1642"/>
                  <a:pt x="242" y="1642"/>
                  <a:pt x="242" y="1642"/>
                </a:cubicBezTo>
                <a:cubicBezTo>
                  <a:pt x="233" y="1627"/>
                  <a:pt x="233" y="1603"/>
                  <a:pt x="242" y="1588"/>
                </a:cubicBezTo>
                <a:cubicBezTo>
                  <a:pt x="368" y="1368"/>
                  <a:pt x="368" y="1368"/>
                  <a:pt x="368" y="1368"/>
                </a:cubicBezTo>
                <a:cubicBezTo>
                  <a:pt x="377" y="1353"/>
                  <a:pt x="370" y="1341"/>
                  <a:pt x="353" y="1341"/>
                </a:cubicBezTo>
                <a:cubicBezTo>
                  <a:pt x="163" y="1341"/>
                  <a:pt x="163" y="1341"/>
                  <a:pt x="163" y="1341"/>
                </a:cubicBezTo>
                <a:cubicBezTo>
                  <a:pt x="146" y="1341"/>
                  <a:pt x="125" y="1329"/>
                  <a:pt x="117" y="1314"/>
                </a:cubicBezTo>
                <a:cubicBezTo>
                  <a:pt x="8" y="1126"/>
                  <a:pt x="8" y="1126"/>
                  <a:pt x="8" y="1126"/>
                </a:cubicBezTo>
                <a:cubicBezTo>
                  <a:pt x="0" y="1111"/>
                  <a:pt x="0" y="1087"/>
                  <a:pt x="8" y="1073"/>
                </a:cubicBezTo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456428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6910377 w 12192000"/>
              <a:gd name="connsiteY3" fmla="*/ 6858000 h 6858000"/>
              <a:gd name="connsiteX4" fmla="*/ 6944008 w 12192000"/>
              <a:gd name="connsiteY4" fmla="*/ 6799742 h 6858000"/>
              <a:gd name="connsiteX5" fmla="*/ 7200786 w 12192000"/>
              <a:gd name="connsiteY5" fmla="*/ 6354938 h 6858000"/>
              <a:gd name="connsiteX6" fmla="*/ 7200786 w 12192000"/>
              <a:gd name="connsiteY6" fmla="*/ 5837908 h 6858000"/>
              <a:gd name="connsiteX7" fmla="*/ 6149027 w 12192000"/>
              <a:gd name="connsiteY7" fmla="*/ 4012915 h 6858000"/>
              <a:gd name="connsiteX8" fmla="*/ 5703106 w 12192000"/>
              <a:gd name="connsiteY8" fmla="*/ 3754400 h 6858000"/>
              <a:gd name="connsiteX9" fmla="*/ 3870218 w 12192000"/>
              <a:gd name="connsiteY9" fmla="*/ 3754400 h 6858000"/>
              <a:gd name="connsiteX10" fmla="*/ 3719527 w 12192000"/>
              <a:gd name="connsiteY10" fmla="*/ 3492808 h 6858000"/>
              <a:gd name="connsiteX11" fmla="*/ 4943503 w 12192000"/>
              <a:gd name="connsiteY11" fmla="*/ 1363137 h 6858000"/>
              <a:gd name="connsiteX12" fmla="*/ 4943503 w 12192000"/>
              <a:gd name="connsiteY12" fmla="*/ 846107 h 6858000"/>
              <a:gd name="connsiteX13" fmla="*/ 4462168 w 12192000"/>
              <a:gd name="connsiteY13" fmla="*/ 9972 h 6858000"/>
              <a:gd name="connsiteX14" fmla="*/ 0 w 12192000"/>
              <a:gd name="connsiteY14" fmla="*/ 0 h 6858000"/>
              <a:gd name="connsiteX15" fmla="*/ 2066183 w 12192000"/>
              <a:gd name="connsiteY15" fmla="*/ 0 h 6858000"/>
              <a:gd name="connsiteX16" fmla="*/ 1982011 w 12192000"/>
              <a:gd name="connsiteY16" fmla="*/ 146217 h 6858000"/>
              <a:gd name="connsiteX17" fmla="*/ 1579108 w 12192000"/>
              <a:gd name="connsiteY17" fmla="*/ 846107 h 6858000"/>
              <a:gd name="connsiteX18" fmla="*/ 1579108 w 12192000"/>
              <a:gd name="connsiteY18" fmla="*/ 1363137 h 6858000"/>
              <a:gd name="connsiteX19" fmla="*/ 2194171 w 12192000"/>
              <a:gd name="connsiteY19" fmla="*/ 2434127 h 6858000"/>
              <a:gd name="connsiteX20" fmla="*/ 2643167 w 12192000"/>
              <a:gd name="connsiteY20" fmla="*/ 2692642 h 6858000"/>
              <a:gd name="connsiteX21" fmla="*/ 3608816 w 12192000"/>
              <a:gd name="connsiteY21" fmla="*/ 2692642 h 6858000"/>
              <a:gd name="connsiteX22" fmla="*/ 3759507 w 12192000"/>
              <a:gd name="connsiteY22" fmla="*/ 2951157 h 6858000"/>
              <a:gd name="connsiteX23" fmla="*/ 2098836 w 12192000"/>
              <a:gd name="connsiteY23" fmla="*/ 5837908 h 6858000"/>
              <a:gd name="connsiteX24" fmla="*/ 2098836 w 12192000"/>
              <a:gd name="connsiteY24" fmla="*/ 6354938 h 6858000"/>
              <a:gd name="connsiteX25" fmla="*/ 2367778 w 12192000"/>
              <a:gd name="connsiteY25" fmla="*/ 6820814 h 6858000"/>
              <a:gd name="connsiteX26" fmla="*/ 2389244 w 12192000"/>
              <a:gd name="connsiteY26" fmla="*/ 6858000 h 6858000"/>
              <a:gd name="connsiteX27" fmla="*/ 2077708 w 12192000"/>
              <a:gd name="connsiteY27" fmla="*/ 6858000 h 6858000"/>
              <a:gd name="connsiteX28" fmla="*/ 2060010 w 12192000"/>
              <a:gd name="connsiteY28" fmla="*/ 6827344 h 6858000"/>
              <a:gd name="connsiteX29" fmla="*/ 1954296 w 12192000"/>
              <a:gd name="connsiteY29" fmla="*/ 6644229 h 6858000"/>
              <a:gd name="connsiteX30" fmla="*/ 1339233 w 12192000"/>
              <a:gd name="connsiteY30" fmla="*/ 6287232 h 6858000"/>
              <a:gd name="connsiteX31" fmla="*/ 60754 w 12192000"/>
              <a:gd name="connsiteY31" fmla="*/ 6287232 h 6858000"/>
              <a:gd name="connsiteX32" fmla="*/ 0 w 12192000"/>
              <a:gd name="connsiteY32" fmla="*/ 6287232 h 6858000"/>
              <a:gd name="connsiteX33" fmla="*/ 0 w 12192000"/>
              <a:gd name="connsiteY33" fmla="*/ 6028717 h 6858000"/>
              <a:gd name="connsiteX34" fmla="*/ 34162 w 12192000"/>
              <a:gd name="connsiteY34" fmla="*/ 6028717 h 6858000"/>
              <a:gd name="connsiteX35" fmla="*/ 1468396 w 12192000"/>
              <a:gd name="connsiteY35" fmla="*/ 6028717 h 6858000"/>
              <a:gd name="connsiteX36" fmla="*/ 1837434 w 12192000"/>
              <a:gd name="connsiteY36" fmla="*/ 5813288 h 6858000"/>
              <a:gd name="connsiteX37" fmla="*/ 2707749 w 12192000"/>
              <a:gd name="connsiteY37" fmla="*/ 4308361 h 6858000"/>
              <a:gd name="connsiteX38" fmla="*/ 2707749 w 12192000"/>
              <a:gd name="connsiteY38" fmla="*/ 3880580 h 6858000"/>
              <a:gd name="connsiteX39" fmla="*/ 1837434 w 12192000"/>
              <a:gd name="connsiteY39" fmla="*/ 2372576 h 6858000"/>
              <a:gd name="connsiteX40" fmla="*/ 1468396 w 12192000"/>
              <a:gd name="connsiteY40" fmla="*/ 2160224 h 6858000"/>
              <a:gd name="connsiteX41" fmla="*/ 37562 w 12192000"/>
              <a:gd name="connsiteY41" fmla="*/ 2160224 h 6858000"/>
              <a:gd name="connsiteX42" fmla="*/ 0 w 12192000"/>
              <a:gd name="connsiteY42" fmla="*/ 21602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4456428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6910377" y="6858000"/>
                </a:lnTo>
                <a:lnTo>
                  <a:pt x="6944008" y="6799742"/>
                </a:lnTo>
                <a:cubicBezTo>
                  <a:pt x="7200786" y="6354938"/>
                  <a:pt x="7200786" y="6354938"/>
                  <a:pt x="7200786" y="6354938"/>
                </a:cubicBezTo>
                <a:cubicBezTo>
                  <a:pt x="7283818" y="6213370"/>
                  <a:pt x="7283818" y="5979476"/>
                  <a:pt x="7200786" y="5837908"/>
                </a:cubicBezTo>
                <a:cubicBezTo>
                  <a:pt x="6149027" y="4012915"/>
                  <a:pt x="6149027" y="4012915"/>
                  <a:pt x="6149027" y="4012915"/>
                </a:cubicBezTo>
                <a:cubicBezTo>
                  <a:pt x="6069069" y="3871348"/>
                  <a:pt x="5866098" y="3754400"/>
                  <a:pt x="5703106" y="3754400"/>
                </a:cubicBezTo>
                <a:cubicBezTo>
                  <a:pt x="3870218" y="3754400"/>
                  <a:pt x="3870218" y="3754400"/>
                  <a:pt x="3870218" y="3754400"/>
                </a:cubicBezTo>
                <a:cubicBezTo>
                  <a:pt x="3704151" y="3754400"/>
                  <a:pt x="3636494" y="3637453"/>
                  <a:pt x="3719527" y="3492808"/>
                </a:cubicBezTo>
                <a:cubicBezTo>
                  <a:pt x="4943503" y="1363137"/>
                  <a:pt x="4943503" y="1363137"/>
                  <a:pt x="4943503" y="1363137"/>
                </a:cubicBezTo>
                <a:cubicBezTo>
                  <a:pt x="5026537" y="1221569"/>
                  <a:pt x="5026537" y="987674"/>
                  <a:pt x="4943503" y="846107"/>
                </a:cubicBezTo>
                <a:cubicBezTo>
                  <a:pt x="4576772" y="209052"/>
                  <a:pt x="4485089" y="49788"/>
                  <a:pt x="4462168" y="9972"/>
                </a:cubicBezTo>
                <a:close/>
                <a:moveTo>
                  <a:pt x="0" y="0"/>
                </a:moveTo>
                <a:lnTo>
                  <a:pt x="2066183" y="0"/>
                </a:lnTo>
                <a:lnTo>
                  <a:pt x="1982011" y="146217"/>
                </a:lnTo>
                <a:cubicBezTo>
                  <a:pt x="1579108" y="846107"/>
                  <a:pt x="1579108" y="846107"/>
                  <a:pt x="1579108" y="846107"/>
                </a:cubicBezTo>
                <a:cubicBezTo>
                  <a:pt x="1496074" y="987674"/>
                  <a:pt x="1496074" y="1221569"/>
                  <a:pt x="1579108" y="1363137"/>
                </a:cubicBezTo>
                <a:cubicBezTo>
                  <a:pt x="2194171" y="2434127"/>
                  <a:pt x="2194171" y="2434127"/>
                  <a:pt x="2194171" y="2434127"/>
                </a:cubicBezTo>
                <a:cubicBezTo>
                  <a:pt x="2277204" y="2575695"/>
                  <a:pt x="2480175" y="2692642"/>
                  <a:pt x="2643167" y="2692642"/>
                </a:cubicBezTo>
                <a:cubicBezTo>
                  <a:pt x="3608816" y="2692642"/>
                  <a:pt x="3608816" y="2692642"/>
                  <a:pt x="3608816" y="2692642"/>
                </a:cubicBezTo>
                <a:cubicBezTo>
                  <a:pt x="3774883" y="2692642"/>
                  <a:pt x="3842540" y="2809590"/>
                  <a:pt x="3759507" y="2951157"/>
                </a:cubicBezTo>
                <a:cubicBezTo>
                  <a:pt x="2098836" y="5837908"/>
                  <a:pt x="2098836" y="5837908"/>
                  <a:pt x="2098836" y="5837908"/>
                </a:cubicBezTo>
                <a:cubicBezTo>
                  <a:pt x="2015802" y="5979476"/>
                  <a:pt x="2015802" y="6213370"/>
                  <a:pt x="2098836" y="6354938"/>
                </a:cubicBezTo>
                <a:cubicBezTo>
                  <a:pt x="2197438" y="6525743"/>
                  <a:pt x="2286797" y="6680534"/>
                  <a:pt x="2367778" y="6820814"/>
                </a:cubicBezTo>
                <a:lnTo>
                  <a:pt x="2389244" y="6858000"/>
                </a:lnTo>
                <a:lnTo>
                  <a:pt x="2077708" y="6858000"/>
                </a:lnTo>
                <a:lnTo>
                  <a:pt x="2060010" y="6827344"/>
                </a:lnTo>
                <a:cubicBezTo>
                  <a:pt x="1954296" y="6644229"/>
                  <a:pt x="1954296" y="6644229"/>
                  <a:pt x="1954296" y="6644229"/>
                </a:cubicBezTo>
                <a:cubicBezTo>
                  <a:pt x="1840509" y="6447265"/>
                  <a:pt x="1563731" y="6287232"/>
                  <a:pt x="1339233" y="6287232"/>
                </a:cubicBezTo>
                <a:cubicBezTo>
                  <a:pt x="704949" y="6287232"/>
                  <a:pt x="308521" y="6287232"/>
                  <a:pt x="60754" y="6287232"/>
                </a:cubicBezTo>
                <a:lnTo>
                  <a:pt x="0" y="6287232"/>
                </a:lnTo>
                <a:lnTo>
                  <a:pt x="0" y="6028717"/>
                </a:lnTo>
                <a:lnTo>
                  <a:pt x="34162" y="6028717"/>
                </a:lnTo>
                <a:cubicBezTo>
                  <a:pt x="1468396" y="6028717"/>
                  <a:pt x="1468396" y="6028717"/>
                  <a:pt x="1468396" y="6028717"/>
                </a:cubicBezTo>
                <a:cubicBezTo>
                  <a:pt x="1603710" y="6028717"/>
                  <a:pt x="1769777" y="5933312"/>
                  <a:pt x="1837434" y="5813288"/>
                </a:cubicBezTo>
                <a:cubicBezTo>
                  <a:pt x="2707749" y="4308361"/>
                  <a:pt x="2707749" y="4308361"/>
                  <a:pt x="2707749" y="4308361"/>
                </a:cubicBezTo>
                <a:cubicBezTo>
                  <a:pt x="2775405" y="4191414"/>
                  <a:pt x="2775405" y="3997527"/>
                  <a:pt x="2707749" y="3880580"/>
                </a:cubicBezTo>
                <a:lnTo>
                  <a:pt x="1837434" y="2372576"/>
                </a:lnTo>
                <a:cubicBezTo>
                  <a:pt x="1769777" y="2255629"/>
                  <a:pt x="1603710" y="2160224"/>
                  <a:pt x="1468396" y="2160224"/>
                </a:cubicBezTo>
                <a:cubicBezTo>
                  <a:pt x="706871" y="2160224"/>
                  <a:pt x="278513" y="2160224"/>
                  <a:pt x="37562" y="2160224"/>
                </a:cubicBezTo>
                <a:lnTo>
                  <a:pt x="0" y="216022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000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4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96000" y="1772816"/>
            <a:ext cx="4272112" cy="70056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 smtClean="0"/>
              <a:t>Chapter name 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noProof="0" dirty="0"/>
          </a:p>
        </p:txBody>
      </p:sp>
      <p:grpSp>
        <p:nvGrpSpPr>
          <p:cNvPr id="10" name="Group 9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 bwMode="gray">
          <a:xfrm>
            <a:off x="0" y="0"/>
            <a:ext cx="8832236" cy="6858000"/>
          </a:xfrm>
          <a:custGeom>
            <a:avLst/>
            <a:gdLst>
              <a:gd name="connsiteX0" fmla="*/ 1333675 w 8832236"/>
              <a:gd name="connsiteY0" fmla="*/ 0 h 6858000"/>
              <a:gd name="connsiteX1" fmla="*/ 1543197 w 8832236"/>
              <a:gd name="connsiteY1" fmla="*/ 0 h 6858000"/>
              <a:gd name="connsiteX2" fmla="*/ 1739629 w 8832236"/>
              <a:gd name="connsiteY2" fmla="*/ 0 h 6858000"/>
              <a:gd name="connsiteX3" fmla="*/ 1923392 w 8832236"/>
              <a:gd name="connsiteY3" fmla="*/ 0 h 6858000"/>
              <a:gd name="connsiteX4" fmla="*/ 2094910 w 8832236"/>
              <a:gd name="connsiteY4" fmla="*/ 0 h 6858000"/>
              <a:gd name="connsiteX5" fmla="*/ 2402895 w 8832236"/>
              <a:gd name="connsiteY5" fmla="*/ 0 h 6858000"/>
              <a:gd name="connsiteX6" fmla="*/ 2666962 w 8832236"/>
              <a:gd name="connsiteY6" fmla="*/ 0 h 6858000"/>
              <a:gd name="connsiteX7" fmla="*/ 2890490 w 8832236"/>
              <a:gd name="connsiteY7" fmla="*/ 0 h 6858000"/>
              <a:gd name="connsiteX8" fmla="*/ 3076858 w 8832236"/>
              <a:gd name="connsiteY8" fmla="*/ 0 h 6858000"/>
              <a:gd name="connsiteX9" fmla="*/ 3229442 w 8832236"/>
              <a:gd name="connsiteY9" fmla="*/ 0 h 6858000"/>
              <a:gd name="connsiteX10" fmla="*/ 3351623 w 8832236"/>
              <a:gd name="connsiteY10" fmla="*/ 0 h 6858000"/>
              <a:gd name="connsiteX11" fmla="*/ 3446777 w 8832236"/>
              <a:gd name="connsiteY11" fmla="*/ 0 h 6858000"/>
              <a:gd name="connsiteX12" fmla="*/ 3518284 w 8832236"/>
              <a:gd name="connsiteY12" fmla="*/ 0 h 6858000"/>
              <a:gd name="connsiteX13" fmla="*/ 3569521 w 8832236"/>
              <a:gd name="connsiteY13" fmla="*/ 0 h 6858000"/>
              <a:gd name="connsiteX14" fmla="*/ 3603867 w 8832236"/>
              <a:gd name="connsiteY14" fmla="*/ 0 h 6858000"/>
              <a:gd name="connsiteX15" fmla="*/ 3624699 w 8832236"/>
              <a:gd name="connsiteY15" fmla="*/ 0 h 6858000"/>
              <a:gd name="connsiteX16" fmla="*/ 3635397 w 8832236"/>
              <a:gd name="connsiteY16" fmla="*/ 0 h 6858000"/>
              <a:gd name="connsiteX17" fmla="*/ 3639901 w 8832236"/>
              <a:gd name="connsiteY17" fmla="*/ 0 h 6858000"/>
              <a:gd name="connsiteX18" fmla="*/ 3703874 w 8832236"/>
              <a:gd name="connsiteY18" fmla="*/ 368087 h 6858000"/>
              <a:gd name="connsiteX19" fmla="*/ 4081315 w 8832236"/>
              <a:gd name="connsiteY19" fmla="*/ 368087 h 6858000"/>
              <a:gd name="connsiteX20" fmla="*/ 4145288 w 8832236"/>
              <a:gd name="connsiteY20" fmla="*/ 595341 h 6858000"/>
              <a:gd name="connsiteX21" fmla="*/ 3707073 w 8832236"/>
              <a:gd name="connsiteY21" fmla="*/ 707368 h 6858000"/>
              <a:gd name="connsiteX22" fmla="*/ 2520374 w 8832236"/>
              <a:gd name="connsiteY22" fmla="*/ 822595 h 6858000"/>
              <a:gd name="connsiteX23" fmla="*/ 1848657 w 8832236"/>
              <a:gd name="connsiteY23" fmla="*/ 1273902 h 6858000"/>
              <a:gd name="connsiteX24" fmla="*/ 1375257 w 8832236"/>
              <a:gd name="connsiteY24" fmla="*/ 2160511 h 6858000"/>
              <a:gd name="connsiteX25" fmla="*/ 1247311 w 8832236"/>
              <a:gd name="connsiteY25" fmla="*/ 2589413 h 6858000"/>
              <a:gd name="connsiteX26" fmla="*/ 1253709 w 8832236"/>
              <a:gd name="connsiteY26" fmla="*/ 3034318 h 6858000"/>
              <a:gd name="connsiteX27" fmla="*/ 1544786 w 8832236"/>
              <a:gd name="connsiteY27" fmla="*/ 4532273 h 6858000"/>
              <a:gd name="connsiteX28" fmla="*/ 1986199 w 8832236"/>
              <a:gd name="connsiteY28" fmla="*/ 5278049 h 6858000"/>
              <a:gd name="connsiteX29" fmla="*/ 3495962 w 8832236"/>
              <a:gd name="connsiteY29" fmla="*/ 6529546 h 6858000"/>
              <a:gd name="connsiteX30" fmla="*/ 4298823 w 8832236"/>
              <a:gd name="connsiteY30" fmla="*/ 6724792 h 6858000"/>
              <a:gd name="connsiteX31" fmla="*/ 6768180 w 8832236"/>
              <a:gd name="connsiteY31" fmla="*/ 6174262 h 6858000"/>
              <a:gd name="connsiteX32" fmla="*/ 8824911 w 8832236"/>
              <a:gd name="connsiteY32" fmla="*/ 6779205 h 6858000"/>
              <a:gd name="connsiteX33" fmla="*/ 8832236 w 8832236"/>
              <a:gd name="connsiteY33" fmla="*/ 6858000 h 6858000"/>
              <a:gd name="connsiteX34" fmla="*/ 3544539 w 8832236"/>
              <a:gd name="connsiteY34" fmla="*/ 6858000 h 6858000"/>
              <a:gd name="connsiteX35" fmla="*/ 3492763 w 8832236"/>
              <a:gd name="connsiteY35" fmla="*/ 6808012 h 6858000"/>
              <a:gd name="connsiteX36" fmla="*/ 1877445 w 8832236"/>
              <a:gd name="connsiteY36" fmla="*/ 5476496 h 6858000"/>
              <a:gd name="connsiteX37" fmla="*/ 1173742 w 8832236"/>
              <a:gd name="connsiteY37" fmla="*/ 5486099 h 6858000"/>
              <a:gd name="connsiteX38" fmla="*/ 703541 w 8832236"/>
              <a:gd name="connsiteY38" fmla="*/ 5895796 h 6858000"/>
              <a:gd name="connsiteX39" fmla="*/ 118188 w 8832236"/>
              <a:gd name="connsiteY39" fmla="*/ 6379110 h 6858000"/>
              <a:gd name="connsiteX40" fmla="*/ 3143 w 8832236"/>
              <a:gd name="connsiteY40" fmla="*/ 5345084 h 6858000"/>
              <a:gd name="connsiteX41" fmla="*/ 0 w 8832236"/>
              <a:gd name="connsiteY41" fmla="*/ 5310760 h 6858000"/>
              <a:gd name="connsiteX42" fmla="*/ 0 w 8832236"/>
              <a:gd name="connsiteY42" fmla="*/ 2620801 h 6858000"/>
              <a:gd name="connsiteX43" fmla="*/ 53610 w 8832236"/>
              <a:gd name="connsiteY43" fmla="*/ 2608649 h 6858000"/>
              <a:gd name="connsiteX44" fmla="*/ 194956 w 8832236"/>
              <a:gd name="connsiteY44" fmla="*/ 2576610 h 6858000"/>
              <a:gd name="connsiteX45" fmla="*/ 508423 w 8832236"/>
              <a:gd name="connsiteY45" fmla="*/ 2525398 h 6858000"/>
              <a:gd name="connsiteX46" fmla="*/ 1176941 w 8832236"/>
              <a:gd name="connsiteY46" fmla="*/ 2042084 h 6858000"/>
              <a:gd name="connsiteX47" fmla="*/ 1621553 w 8832236"/>
              <a:gd name="connsiteY47" fmla="*/ 1200284 h 6858000"/>
              <a:gd name="connsiteX48" fmla="*/ 1589567 w 8832236"/>
              <a:gd name="connsiteY48" fmla="*/ 406496 h 6858000"/>
              <a:gd name="connsiteX49" fmla="*/ 1333675 w 8832236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32236" h="6858000">
                <a:moveTo>
                  <a:pt x="1333675" y="0"/>
                </a:moveTo>
                <a:lnTo>
                  <a:pt x="1543197" y="0"/>
                </a:lnTo>
                <a:lnTo>
                  <a:pt x="1739629" y="0"/>
                </a:lnTo>
                <a:lnTo>
                  <a:pt x="1923392" y="0"/>
                </a:lnTo>
                <a:lnTo>
                  <a:pt x="2094910" y="0"/>
                </a:lnTo>
                <a:lnTo>
                  <a:pt x="2402895" y="0"/>
                </a:lnTo>
                <a:lnTo>
                  <a:pt x="2666962" y="0"/>
                </a:lnTo>
                <a:lnTo>
                  <a:pt x="2890490" y="0"/>
                </a:lnTo>
                <a:lnTo>
                  <a:pt x="3076858" y="0"/>
                </a:lnTo>
                <a:lnTo>
                  <a:pt x="3229442" y="0"/>
                </a:lnTo>
                <a:lnTo>
                  <a:pt x="3351623" y="0"/>
                </a:lnTo>
                <a:lnTo>
                  <a:pt x="3446777" y="0"/>
                </a:lnTo>
                <a:lnTo>
                  <a:pt x="3518284" y="0"/>
                </a:lnTo>
                <a:lnTo>
                  <a:pt x="3569521" y="0"/>
                </a:lnTo>
                <a:lnTo>
                  <a:pt x="3603867" y="0"/>
                </a:lnTo>
                <a:lnTo>
                  <a:pt x="3624699" y="0"/>
                </a:lnTo>
                <a:lnTo>
                  <a:pt x="3635397" y="0"/>
                </a:lnTo>
                <a:lnTo>
                  <a:pt x="3639901" y="0"/>
                </a:lnTo>
                <a:cubicBezTo>
                  <a:pt x="3703874" y="368087"/>
                  <a:pt x="3703874" y="368087"/>
                  <a:pt x="3703874" y="368087"/>
                </a:cubicBezTo>
                <a:cubicBezTo>
                  <a:pt x="4081315" y="368087"/>
                  <a:pt x="4081315" y="368087"/>
                  <a:pt x="4081315" y="368087"/>
                </a:cubicBezTo>
                <a:cubicBezTo>
                  <a:pt x="4145288" y="595341"/>
                  <a:pt x="4145288" y="595341"/>
                  <a:pt x="4145288" y="595341"/>
                </a:cubicBezTo>
                <a:cubicBezTo>
                  <a:pt x="3707073" y="707368"/>
                  <a:pt x="3707073" y="707368"/>
                  <a:pt x="3707073" y="707368"/>
                </a:cubicBezTo>
                <a:cubicBezTo>
                  <a:pt x="2520374" y="822595"/>
                  <a:pt x="2520374" y="822595"/>
                  <a:pt x="2520374" y="822595"/>
                </a:cubicBezTo>
                <a:cubicBezTo>
                  <a:pt x="2270879" y="848201"/>
                  <a:pt x="1967008" y="1053049"/>
                  <a:pt x="1848657" y="1273902"/>
                </a:cubicBezTo>
                <a:cubicBezTo>
                  <a:pt x="1375257" y="2160511"/>
                  <a:pt x="1375257" y="2160511"/>
                  <a:pt x="1375257" y="2160511"/>
                </a:cubicBezTo>
                <a:cubicBezTo>
                  <a:pt x="1317682" y="2272538"/>
                  <a:pt x="1272901" y="2429375"/>
                  <a:pt x="1247311" y="2589413"/>
                </a:cubicBezTo>
                <a:cubicBezTo>
                  <a:pt x="1253709" y="3034318"/>
                  <a:pt x="1253709" y="3034318"/>
                  <a:pt x="1253709" y="3034318"/>
                </a:cubicBezTo>
                <a:cubicBezTo>
                  <a:pt x="1544786" y="4532273"/>
                  <a:pt x="1544786" y="4532273"/>
                  <a:pt x="1544786" y="4532273"/>
                </a:cubicBezTo>
                <a:cubicBezTo>
                  <a:pt x="1592766" y="4778731"/>
                  <a:pt x="1794280" y="5114811"/>
                  <a:pt x="1986199" y="5278049"/>
                </a:cubicBezTo>
                <a:cubicBezTo>
                  <a:pt x="3495962" y="6529546"/>
                  <a:pt x="3495962" y="6529546"/>
                  <a:pt x="3495962" y="6529546"/>
                </a:cubicBezTo>
                <a:cubicBezTo>
                  <a:pt x="3687881" y="6692784"/>
                  <a:pt x="4049328" y="6779205"/>
                  <a:pt x="4298823" y="6724792"/>
                </a:cubicBezTo>
                <a:cubicBezTo>
                  <a:pt x="6768180" y="6174262"/>
                  <a:pt x="6768180" y="6174262"/>
                  <a:pt x="6768180" y="6174262"/>
                </a:cubicBezTo>
                <a:cubicBezTo>
                  <a:pt x="8824911" y="6779205"/>
                  <a:pt x="8824911" y="6779205"/>
                  <a:pt x="8824911" y="6779205"/>
                </a:cubicBezTo>
                <a:lnTo>
                  <a:pt x="8832236" y="6858000"/>
                </a:lnTo>
                <a:lnTo>
                  <a:pt x="3544539" y="6858000"/>
                </a:lnTo>
                <a:lnTo>
                  <a:pt x="3492763" y="6808012"/>
                </a:lnTo>
                <a:cubicBezTo>
                  <a:pt x="1877445" y="5476496"/>
                  <a:pt x="1877445" y="5476496"/>
                  <a:pt x="1877445" y="5476496"/>
                </a:cubicBezTo>
                <a:cubicBezTo>
                  <a:pt x="1682328" y="5316459"/>
                  <a:pt x="1365661" y="5319659"/>
                  <a:pt x="1173742" y="5486099"/>
                </a:cubicBezTo>
                <a:cubicBezTo>
                  <a:pt x="703541" y="5895796"/>
                  <a:pt x="703541" y="5895796"/>
                  <a:pt x="703541" y="5895796"/>
                </a:cubicBezTo>
                <a:cubicBezTo>
                  <a:pt x="118188" y="6379110"/>
                  <a:pt x="118188" y="6379110"/>
                  <a:pt x="118188" y="6379110"/>
                </a:cubicBezTo>
                <a:cubicBezTo>
                  <a:pt x="110191" y="6303092"/>
                  <a:pt x="43469" y="5766965"/>
                  <a:pt x="3143" y="5345084"/>
                </a:cubicBezTo>
                <a:lnTo>
                  <a:pt x="0" y="5310760"/>
                </a:lnTo>
                <a:lnTo>
                  <a:pt x="0" y="2620801"/>
                </a:lnTo>
                <a:lnTo>
                  <a:pt x="53610" y="2608649"/>
                </a:lnTo>
                <a:cubicBezTo>
                  <a:pt x="194956" y="2576610"/>
                  <a:pt x="194956" y="2576610"/>
                  <a:pt x="194956" y="2576610"/>
                </a:cubicBezTo>
                <a:cubicBezTo>
                  <a:pt x="508423" y="2525398"/>
                  <a:pt x="508423" y="2525398"/>
                  <a:pt x="508423" y="2525398"/>
                </a:cubicBezTo>
                <a:cubicBezTo>
                  <a:pt x="757918" y="2483788"/>
                  <a:pt x="1058591" y="2266137"/>
                  <a:pt x="1176941" y="2042084"/>
                </a:cubicBezTo>
                <a:cubicBezTo>
                  <a:pt x="1621553" y="1200284"/>
                  <a:pt x="1621553" y="1200284"/>
                  <a:pt x="1621553" y="1200284"/>
                </a:cubicBezTo>
                <a:cubicBezTo>
                  <a:pt x="1739903" y="976231"/>
                  <a:pt x="1727109" y="620947"/>
                  <a:pt x="1589567" y="406496"/>
                </a:cubicBezTo>
                <a:cubicBezTo>
                  <a:pt x="1333675" y="0"/>
                  <a:pt x="1333675" y="0"/>
                  <a:pt x="1333675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639563 w 12192000"/>
              <a:gd name="connsiteY0" fmla="*/ 0 h 6858000"/>
              <a:gd name="connsiteX1" fmla="*/ 4053406 w 12192000"/>
              <a:gd name="connsiteY1" fmla="*/ 0 h 6858000"/>
              <a:gd name="connsiteX2" fmla="*/ 4441393 w 12192000"/>
              <a:gd name="connsiteY2" fmla="*/ 0 h 6858000"/>
              <a:gd name="connsiteX3" fmla="*/ 4804357 w 12192000"/>
              <a:gd name="connsiteY3" fmla="*/ 0 h 6858000"/>
              <a:gd name="connsiteX4" fmla="*/ 5143133 w 12192000"/>
              <a:gd name="connsiteY4" fmla="*/ 0 h 6858000"/>
              <a:gd name="connsiteX5" fmla="*/ 5458554 w 12192000"/>
              <a:gd name="connsiteY5" fmla="*/ 0 h 6858000"/>
              <a:gd name="connsiteX6" fmla="*/ 5751455 w 12192000"/>
              <a:gd name="connsiteY6" fmla="*/ 0 h 6858000"/>
              <a:gd name="connsiteX7" fmla="*/ 6022671 w 12192000"/>
              <a:gd name="connsiteY7" fmla="*/ 0 h 6858000"/>
              <a:gd name="connsiteX8" fmla="*/ 6273034 w 12192000"/>
              <a:gd name="connsiteY8" fmla="*/ 0 h 6858000"/>
              <a:gd name="connsiteX9" fmla="*/ 6503379 w 12192000"/>
              <a:gd name="connsiteY9" fmla="*/ 0 h 6858000"/>
              <a:gd name="connsiteX10" fmla="*/ 6714541 w 12192000"/>
              <a:gd name="connsiteY10" fmla="*/ 0 h 6858000"/>
              <a:gd name="connsiteX11" fmla="*/ 6907352 w 12192000"/>
              <a:gd name="connsiteY11" fmla="*/ 0 h 6858000"/>
              <a:gd name="connsiteX12" fmla="*/ 7082648 w 12192000"/>
              <a:gd name="connsiteY12" fmla="*/ 0 h 6858000"/>
              <a:gd name="connsiteX13" fmla="*/ 7241262 w 12192000"/>
              <a:gd name="connsiteY13" fmla="*/ 0 h 6858000"/>
              <a:gd name="connsiteX14" fmla="*/ 7384029 w 12192000"/>
              <a:gd name="connsiteY14" fmla="*/ 0 h 6858000"/>
              <a:gd name="connsiteX15" fmla="*/ 7511783 w 12192000"/>
              <a:gd name="connsiteY15" fmla="*/ 0 h 6858000"/>
              <a:gd name="connsiteX16" fmla="*/ 7625357 w 12192000"/>
              <a:gd name="connsiteY16" fmla="*/ 0 h 6858000"/>
              <a:gd name="connsiteX17" fmla="*/ 7725585 w 12192000"/>
              <a:gd name="connsiteY17" fmla="*/ 0 h 6858000"/>
              <a:gd name="connsiteX18" fmla="*/ 7813303 w 12192000"/>
              <a:gd name="connsiteY18" fmla="*/ 0 h 6858000"/>
              <a:gd name="connsiteX19" fmla="*/ 7954540 w 12192000"/>
              <a:gd name="connsiteY19" fmla="*/ 0 h 6858000"/>
              <a:gd name="connsiteX20" fmla="*/ 8055742 w 12192000"/>
              <a:gd name="connsiteY20" fmla="*/ 0 h 6858000"/>
              <a:gd name="connsiteX21" fmla="*/ 8123581 w 12192000"/>
              <a:gd name="connsiteY21" fmla="*/ 0 h 6858000"/>
              <a:gd name="connsiteX22" fmla="*/ 8164729 w 12192000"/>
              <a:gd name="connsiteY22" fmla="*/ 0 h 6858000"/>
              <a:gd name="connsiteX23" fmla="*/ 8185859 w 12192000"/>
              <a:gd name="connsiteY23" fmla="*/ 0 h 6858000"/>
              <a:gd name="connsiteX24" fmla="*/ 8193644 w 12192000"/>
              <a:gd name="connsiteY24" fmla="*/ 0 h 6858000"/>
              <a:gd name="connsiteX25" fmla="*/ 8194756 w 12192000"/>
              <a:gd name="connsiteY25" fmla="*/ 0 h 6858000"/>
              <a:gd name="connsiteX26" fmla="*/ 8412720 w 12192000"/>
              <a:gd name="connsiteY26" fmla="*/ 0 h 6858000"/>
              <a:gd name="connsiteX27" fmla="*/ 8617067 w 12192000"/>
              <a:gd name="connsiteY27" fmla="*/ 0 h 6858000"/>
              <a:gd name="connsiteX28" fmla="*/ 8808235 w 12192000"/>
              <a:gd name="connsiteY28" fmla="*/ 0 h 6858000"/>
              <a:gd name="connsiteX29" fmla="*/ 8986664 w 12192000"/>
              <a:gd name="connsiteY29" fmla="*/ 0 h 6858000"/>
              <a:gd name="connsiteX30" fmla="*/ 9307058 w 12192000"/>
              <a:gd name="connsiteY30" fmla="*/ 0 h 6858000"/>
              <a:gd name="connsiteX31" fmla="*/ 9581766 w 12192000"/>
              <a:gd name="connsiteY31" fmla="*/ 0 h 6858000"/>
              <a:gd name="connsiteX32" fmla="*/ 9814301 w 12192000"/>
              <a:gd name="connsiteY32" fmla="*/ 0 h 6858000"/>
              <a:gd name="connsiteX33" fmla="*/ 10008178 w 12192000"/>
              <a:gd name="connsiteY33" fmla="*/ 0 h 6858000"/>
              <a:gd name="connsiteX34" fmla="*/ 10166911 w 12192000"/>
              <a:gd name="connsiteY34" fmla="*/ 0 h 6858000"/>
              <a:gd name="connsiteX35" fmla="*/ 10294015 w 12192000"/>
              <a:gd name="connsiteY35" fmla="*/ 0 h 6858000"/>
              <a:gd name="connsiteX36" fmla="*/ 10393003 w 12192000"/>
              <a:gd name="connsiteY36" fmla="*/ 0 h 6858000"/>
              <a:gd name="connsiteX37" fmla="*/ 10467391 w 12192000"/>
              <a:gd name="connsiteY37" fmla="*/ 0 h 6858000"/>
              <a:gd name="connsiteX38" fmla="*/ 10520693 w 12192000"/>
              <a:gd name="connsiteY38" fmla="*/ 0 h 6858000"/>
              <a:gd name="connsiteX39" fmla="*/ 10556422 w 12192000"/>
              <a:gd name="connsiteY39" fmla="*/ 0 h 6858000"/>
              <a:gd name="connsiteX40" fmla="*/ 10578094 w 12192000"/>
              <a:gd name="connsiteY40" fmla="*/ 0 h 6858000"/>
              <a:gd name="connsiteX41" fmla="*/ 10589223 w 12192000"/>
              <a:gd name="connsiteY41" fmla="*/ 0 h 6858000"/>
              <a:gd name="connsiteX42" fmla="*/ 10593909 w 12192000"/>
              <a:gd name="connsiteY42" fmla="*/ 0 h 6858000"/>
              <a:gd name="connsiteX43" fmla="*/ 10964417 w 12192000"/>
              <a:gd name="connsiteY43" fmla="*/ 0 h 6858000"/>
              <a:gd name="connsiteX44" fmla="*/ 11288676 w 12192000"/>
              <a:gd name="connsiteY44" fmla="*/ 0 h 6858000"/>
              <a:gd name="connsiteX45" fmla="*/ 11569769 w 12192000"/>
              <a:gd name="connsiteY45" fmla="*/ 0 h 6858000"/>
              <a:gd name="connsiteX46" fmla="*/ 11810779 w 12192000"/>
              <a:gd name="connsiteY46" fmla="*/ 0 h 6858000"/>
              <a:gd name="connsiteX47" fmla="*/ 12014790 w 12192000"/>
              <a:gd name="connsiteY47" fmla="*/ 0 h 6858000"/>
              <a:gd name="connsiteX48" fmla="*/ 12184885 w 12192000"/>
              <a:gd name="connsiteY48" fmla="*/ 0 h 6858000"/>
              <a:gd name="connsiteX49" fmla="*/ 12192000 w 12192000"/>
              <a:gd name="connsiteY49" fmla="*/ 0 h 6858000"/>
              <a:gd name="connsiteX50" fmla="*/ 12192000 w 12192000"/>
              <a:gd name="connsiteY50" fmla="*/ 6858000 h 6858000"/>
              <a:gd name="connsiteX51" fmla="*/ 8661018 w 12192000"/>
              <a:gd name="connsiteY51" fmla="*/ 6858000 h 6858000"/>
              <a:gd name="connsiteX52" fmla="*/ 8618886 w 12192000"/>
              <a:gd name="connsiteY52" fmla="*/ 6845587 h 6858000"/>
              <a:gd name="connsiteX53" fmla="*/ 6524945 w 12192000"/>
              <a:gd name="connsiteY53" fmla="*/ 6228674 h 6858000"/>
              <a:gd name="connsiteX54" fmla="*/ 5610068 w 12192000"/>
              <a:gd name="connsiteY54" fmla="*/ 5959811 h 6858000"/>
              <a:gd name="connsiteX55" fmla="*/ 4810350 w 12192000"/>
              <a:gd name="connsiteY55" fmla="*/ 5102008 h 6858000"/>
              <a:gd name="connsiteX56" fmla="*/ 4151383 w 12192000"/>
              <a:gd name="connsiteY56" fmla="*/ 2067690 h 6858000"/>
              <a:gd name="connsiteX57" fmla="*/ 3418841 w 12192000"/>
              <a:gd name="connsiteY57" fmla="*/ 1747614 h 6858000"/>
              <a:gd name="connsiteX58" fmla="*/ 1253205 w 12192000"/>
              <a:gd name="connsiteY58" fmla="*/ 3034318 h 6858000"/>
              <a:gd name="connsiteX59" fmla="*/ 1003694 w 12192000"/>
              <a:gd name="connsiteY59" fmla="*/ 3181553 h 6858000"/>
              <a:gd name="connsiteX60" fmla="*/ 498272 w 12192000"/>
              <a:gd name="connsiteY60" fmla="*/ 4205796 h 6858000"/>
              <a:gd name="connsiteX61" fmla="*/ 703000 w 12192000"/>
              <a:gd name="connsiteY61" fmla="*/ 5895796 h 6858000"/>
              <a:gd name="connsiteX62" fmla="*/ 811779 w 12192000"/>
              <a:gd name="connsiteY62" fmla="*/ 6789988 h 6858000"/>
              <a:gd name="connsiteX63" fmla="*/ 820053 w 12192000"/>
              <a:gd name="connsiteY63" fmla="*/ 6858000 h 6858000"/>
              <a:gd name="connsiteX64" fmla="*/ 0 w 12192000"/>
              <a:gd name="connsiteY64" fmla="*/ 6858000 h 6858000"/>
              <a:gd name="connsiteX65" fmla="*/ 0 w 12192000"/>
              <a:gd name="connsiteY65" fmla="*/ 1386925 h 6858000"/>
              <a:gd name="connsiteX66" fmla="*/ 8776 w 12192000"/>
              <a:gd name="connsiteY66" fmla="*/ 1442892 h 6858000"/>
              <a:gd name="connsiteX67" fmla="*/ 171987 w 12192000"/>
              <a:gd name="connsiteY67" fmla="*/ 2483788 h 6858000"/>
              <a:gd name="connsiteX68" fmla="*/ 194379 w 12192000"/>
              <a:gd name="connsiteY68" fmla="*/ 2576610 h 6858000"/>
              <a:gd name="connsiteX69" fmla="*/ 866142 w 12192000"/>
              <a:gd name="connsiteY69" fmla="*/ 2813466 h 6858000"/>
              <a:gd name="connsiteX70" fmla="*/ 1246808 w 12192000"/>
              <a:gd name="connsiteY70" fmla="*/ 2589413 h 6858000"/>
              <a:gd name="connsiteX71" fmla="*/ 3242903 w 12192000"/>
              <a:gd name="connsiteY71" fmla="*/ 1414735 h 6858000"/>
              <a:gd name="connsiteX72" fmla="*/ 3706740 w 12192000"/>
              <a:gd name="connsiteY72" fmla="*/ 707368 h 6858000"/>
              <a:gd name="connsiteX73" fmla="*/ 3709938 w 12192000"/>
              <a:gd name="connsiteY73" fmla="*/ 400095 h 6858000"/>
              <a:gd name="connsiteX74" fmla="*/ 3639563 w 12192000"/>
              <a:gd name="connsiteY7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2192000" h="6858000">
                <a:moveTo>
                  <a:pt x="3639563" y="0"/>
                </a:moveTo>
                <a:lnTo>
                  <a:pt x="4053406" y="0"/>
                </a:lnTo>
                <a:lnTo>
                  <a:pt x="4441393" y="0"/>
                </a:lnTo>
                <a:lnTo>
                  <a:pt x="4804357" y="0"/>
                </a:lnTo>
                <a:lnTo>
                  <a:pt x="5143133" y="0"/>
                </a:lnTo>
                <a:lnTo>
                  <a:pt x="5458554" y="0"/>
                </a:lnTo>
                <a:lnTo>
                  <a:pt x="5751455" y="0"/>
                </a:lnTo>
                <a:lnTo>
                  <a:pt x="6022671" y="0"/>
                </a:lnTo>
                <a:lnTo>
                  <a:pt x="6273034" y="0"/>
                </a:lnTo>
                <a:lnTo>
                  <a:pt x="6503379" y="0"/>
                </a:lnTo>
                <a:lnTo>
                  <a:pt x="6714541" y="0"/>
                </a:lnTo>
                <a:lnTo>
                  <a:pt x="6907352" y="0"/>
                </a:lnTo>
                <a:lnTo>
                  <a:pt x="7082648" y="0"/>
                </a:lnTo>
                <a:lnTo>
                  <a:pt x="7241262" y="0"/>
                </a:lnTo>
                <a:lnTo>
                  <a:pt x="7384029" y="0"/>
                </a:lnTo>
                <a:lnTo>
                  <a:pt x="7511783" y="0"/>
                </a:lnTo>
                <a:lnTo>
                  <a:pt x="7625357" y="0"/>
                </a:lnTo>
                <a:lnTo>
                  <a:pt x="7725585" y="0"/>
                </a:lnTo>
                <a:lnTo>
                  <a:pt x="7813303" y="0"/>
                </a:lnTo>
                <a:lnTo>
                  <a:pt x="7954540" y="0"/>
                </a:lnTo>
                <a:lnTo>
                  <a:pt x="8055742" y="0"/>
                </a:lnTo>
                <a:lnTo>
                  <a:pt x="8123581" y="0"/>
                </a:lnTo>
                <a:lnTo>
                  <a:pt x="8164729" y="0"/>
                </a:lnTo>
                <a:lnTo>
                  <a:pt x="8185859" y="0"/>
                </a:lnTo>
                <a:lnTo>
                  <a:pt x="8193644" y="0"/>
                </a:lnTo>
                <a:lnTo>
                  <a:pt x="8194756" y="0"/>
                </a:lnTo>
                <a:lnTo>
                  <a:pt x="8412720" y="0"/>
                </a:lnTo>
                <a:lnTo>
                  <a:pt x="8617067" y="0"/>
                </a:lnTo>
                <a:lnTo>
                  <a:pt x="8808235" y="0"/>
                </a:lnTo>
                <a:lnTo>
                  <a:pt x="8986664" y="0"/>
                </a:lnTo>
                <a:lnTo>
                  <a:pt x="9307058" y="0"/>
                </a:lnTo>
                <a:lnTo>
                  <a:pt x="9581766" y="0"/>
                </a:lnTo>
                <a:lnTo>
                  <a:pt x="9814301" y="0"/>
                </a:lnTo>
                <a:lnTo>
                  <a:pt x="10008178" y="0"/>
                </a:lnTo>
                <a:lnTo>
                  <a:pt x="10166911" y="0"/>
                </a:lnTo>
                <a:lnTo>
                  <a:pt x="10294015" y="0"/>
                </a:lnTo>
                <a:lnTo>
                  <a:pt x="10393003" y="0"/>
                </a:lnTo>
                <a:lnTo>
                  <a:pt x="10467391" y="0"/>
                </a:lnTo>
                <a:lnTo>
                  <a:pt x="10520693" y="0"/>
                </a:lnTo>
                <a:lnTo>
                  <a:pt x="10556422" y="0"/>
                </a:lnTo>
                <a:lnTo>
                  <a:pt x="10578094" y="0"/>
                </a:lnTo>
                <a:lnTo>
                  <a:pt x="10589223" y="0"/>
                </a:lnTo>
                <a:lnTo>
                  <a:pt x="10593909" y="0"/>
                </a:lnTo>
                <a:lnTo>
                  <a:pt x="10964417" y="0"/>
                </a:lnTo>
                <a:lnTo>
                  <a:pt x="11288676" y="0"/>
                </a:lnTo>
                <a:lnTo>
                  <a:pt x="11569769" y="0"/>
                </a:lnTo>
                <a:lnTo>
                  <a:pt x="11810779" y="0"/>
                </a:lnTo>
                <a:lnTo>
                  <a:pt x="12014790" y="0"/>
                </a:lnTo>
                <a:lnTo>
                  <a:pt x="1218488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661018" y="6858000"/>
                </a:lnTo>
                <a:lnTo>
                  <a:pt x="8618886" y="6845587"/>
                </a:lnTo>
                <a:cubicBezTo>
                  <a:pt x="6524945" y="6228674"/>
                  <a:pt x="6524945" y="6228674"/>
                  <a:pt x="6524945" y="6228674"/>
                </a:cubicBezTo>
                <a:cubicBezTo>
                  <a:pt x="5610068" y="5959811"/>
                  <a:pt x="5610068" y="5959811"/>
                  <a:pt x="5610068" y="5959811"/>
                </a:cubicBezTo>
                <a:cubicBezTo>
                  <a:pt x="5251795" y="5850985"/>
                  <a:pt x="4890323" y="5466894"/>
                  <a:pt x="4810350" y="5102008"/>
                </a:cubicBezTo>
                <a:cubicBezTo>
                  <a:pt x="4151383" y="2067690"/>
                  <a:pt x="4151383" y="2067690"/>
                  <a:pt x="4151383" y="2067690"/>
                </a:cubicBezTo>
                <a:cubicBezTo>
                  <a:pt x="4071411" y="1699602"/>
                  <a:pt x="3741927" y="1558769"/>
                  <a:pt x="3418841" y="1747614"/>
                </a:cubicBezTo>
                <a:cubicBezTo>
                  <a:pt x="1253205" y="3034318"/>
                  <a:pt x="1253205" y="3034318"/>
                  <a:pt x="1253205" y="3034318"/>
                </a:cubicBezTo>
                <a:cubicBezTo>
                  <a:pt x="1003694" y="3181553"/>
                  <a:pt x="1003694" y="3181553"/>
                  <a:pt x="1003694" y="3181553"/>
                </a:cubicBezTo>
                <a:cubicBezTo>
                  <a:pt x="680608" y="3373599"/>
                  <a:pt x="453488" y="3831307"/>
                  <a:pt x="498272" y="4205796"/>
                </a:cubicBezTo>
                <a:cubicBezTo>
                  <a:pt x="703000" y="5895796"/>
                  <a:pt x="703000" y="5895796"/>
                  <a:pt x="703000" y="5895796"/>
                </a:cubicBezTo>
                <a:cubicBezTo>
                  <a:pt x="748484" y="6269684"/>
                  <a:pt x="784018" y="6561785"/>
                  <a:pt x="811779" y="6789988"/>
                </a:cubicBezTo>
                <a:lnTo>
                  <a:pt x="820053" y="6858000"/>
                </a:lnTo>
                <a:lnTo>
                  <a:pt x="0" y="6858000"/>
                </a:lnTo>
                <a:lnTo>
                  <a:pt x="0" y="1386925"/>
                </a:lnTo>
                <a:lnTo>
                  <a:pt x="8776" y="1442892"/>
                </a:lnTo>
                <a:cubicBezTo>
                  <a:pt x="171987" y="2483788"/>
                  <a:pt x="171987" y="2483788"/>
                  <a:pt x="171987" y="2483788"/>
                </a:cubicBezTo>
                <a:cubicBezTo>
                  <a:pt x="178385" y="2515796"/>
                  <a:pt x="184783" y="2547803"/>
                  <a:pt x="194379" y="2576610"/>
                </a:cubicBezTo>
                <a:cubicBezTo>
                  <a:pt x="287146" y="2877481"/>
                  <a:pt x="571846" y="2986307"/>
                  <a:pt x="866142" y="2813466"/>
                </a:cubicBezTo>
                <a:cubicBezTo>
                  <a:pt x="1246808" y="2589413"/>
                  <a:pt x="1246808" y="2589413"/>
                  <a:pt x="1246808" y="2589413"/>
                </a:cubicBezTo>
                <a:cubicBezTo>
                  <a:pt x="3242903" y="1414735"/>
                  <a:pt x="3242903" y="1414735"/>
                  <a:pt x="3242903" y="1414735"/>
                </a:cubicBezTo>
                <a:cubicBezTo>
                  <a:pt x="3479620" y="1277102"/>
                  <a:pt x="3655558" y="992235"/>
                  <a:pt x="3706740" y="707368"/>
                </a:cubicBezTo>
                <a:cubicBezTo>
                  <a:pt x="3725933" y="601743"/>
                  <a:pt x="3729132" y="499318"/>
                  <a:pt x="3709938" y="400095"/>
                </a:cubicBezTo>
                <a:cubicBezTo>
                  <a:pt x="3639563" y="0"/>
                  <a:pt x="3639563" y="0"/>
                  <a:pt x="3639563" y="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000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96000" y="1772816"/>
            <a:ext cx="4272112" cy="70056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 smtClean="0"/>
              <a:t>Chapter name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noProof="0" dirty="0"/>
          </a:p>
        </p:txBody>
      </p:sp>
      <p:grpSp>
        <p:nvGrpSpPr>
          <p:cNvPr id="18" name="Group 17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accent5"/>
          </a:solidFill>
        </p:grpSpPr>
        <p:sp>
          <p:nvSpPr>
            <p:cNvPr id="19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48909 w 12192000"/>
              <a:gd name="connsiteY0" fmla="*/ 0 h 6858000"/>
              <a:gd name="connsiteX1" fmla="*/ 1437815 w 12192000"/>
              <a:gd name="connsiteY1" fmla="*/ 0 h 6858000"/>
              <a:gd name="connsiteX2" fmla="*/ 1416616 w 12192000"/>
              <a:gd name="connsiteY2" fmla="*/ 63049 h 6858000"/>
              <a:gd name="connsiteX3" fmla="*/ 2816130 w 12192000"/>
              <a:gd name="connsiteY3" fmla="*/ 4208716 h 6858000"/>
              <a:gd name="connsiteX4" fmla="*/ 7652880 w 12192000"/>
              <a:gd name="connsiteY4" fmla="*/ 1881693 h 6858000"/>
              <a:gd name="connsiteX5" fmla="*/ 7686890 w 12192000"/>
              <a:gd name="connsiteY5" fmla="*/ 260273 h 6858000"/>
              <a:gd name="connsiteX6" fmla="*/ 7621110 w 12192000"/>
              <a:gd name="connsiteY6" fmla="*/ 0 h 6858000"/>
              <a:gd name="connsiteX7" fmla="*/ 8544177 w 12192000"/>
              <a:gd name="connsiteY7" fmla="*/ 0 h 6858000"/>
              <a:gd name="connsiteX8" fmla="*/ 8534881 w 12192000"/>
              <a:gd name="connsiteY8" fmla="*/ 27654 h 6858000"/>
              <a:gd name="connsiteX9" fmla="*/ 8868237 w 12192000"/>
              <a:gd name="connsiteY9" fmla="*/ 2461905 h 6858000"/>
              <a:gd name="connsiteX10" fmla="*/ 12032141 w 12192000"/>
              <a:gd name="connsiteY10" fmla="*/ 2639688 h 6858000"/>
              <a:gd name="connsiteX11" fmla="*/ 12192000 w 12192000"/>
              <a:gd name="connsiteY11" fmla="*/ 2566729 h 6858000"/>
              <a:gd name="connsiteX12" fmla="*/ 12192000 w 12192000"/>
              <a:gd name="connsiteY12" fmla="*/ 5274395 h 6858000"/>
              <a:gd name="connsiteX13" fmla="*/ 12109445 w 12192000"/>
              <a:gd name="connsiteY13" fmla="*/ 5202936 h 6858000"/>
              <a:gd name="connsiteX14" fmla="*/ 8843559 w 12192000"/>
              <a:gd name="connsiteY14" fmla="*/ 3187171 h 6858000"/>
              <a:gd name="connsiteX15" fmla="*/ 6548571 w 12192000"/>
              <a:gd name="connsiteY15" fmla="*/ 5362969 h 6858000"/>
              <a:gd name="connsiteX16" fmla="*/ 7312459 w 12192000"/>
              <a:gd name="connsiteY16" fmla="*/ 6747870 h 6858000"/>
              <a:gd name="connsiteX17" fmla="*/ 7402349 w 12192000"/>
              <a:gd name="connsiteY17" fmla="*/ 6858000 h 6858000"/>
              <a:gd name="connsiteX18" fmla="*/ 6793220 w 12192000"/>
              <a:gd name="connsiteY18" fmla="*/ 6858000 h 6858000"/>
              <a:gd name="connsiteX19" fmla="*/ 6780454 w 12192000"/>
              <a:gd name="connsiteY19" fmla="*/ 6849222 h 6858000"/>
              <a:gd name="connsiteX20" fmla="*/ 4262283 w 12192000"/>
              <a:gd name="connsiteY20" fmla="*/ 6852446 h 6858000"/>
              <a:gd name="connsiteX21" fmla="*/ 4251244 w 12192000"/>
              <a:gd name="connsiteY21" fmla="*/ 6858000 h 6858000"/>
              <a:gd name="connsiteX22" fmla="*/ 1584781 w 12192000"/>
              <a:gd name="connsiteY22" fmla="*/ 6858000 h 6858000"/>
              <a:gd name="connsiteX23" fmla="*/ 1548685 w 12192000"/>
              <a:gd name="connsiteY23" fmla="*/ 6742445 h 6858000"/>
              <a:gd name="connsiteX24" fmla="*/ 193301 w 12192000"/>
              <a:gd name="connsiteY24" fmla="*/ 4363992 h 6858000"/>
              <a:gd name="connsiteX25" fmla="*/ 0 w 12192000"/>
              <a:gd name="connsiteY25" fmla="*/ 4101454 h 6858000"/>
              <a:gd name="connsiteX26" fmla="*/ 0 w 12192000"/>
              <a:gd name="connsiteY26" fmla="*/ 1829578 h 6858000"/>
              <a:gd name="connsiteX27" fmla="*/ 44396 w 12192000"/>
              <a:gd name="connsiteY27" fmla="*/ 1812744 h 6858000"/>
              <a:gd name="connsiteX28" fmla="*/ 1036786 w 12192000"/>
              <a:gd name="connsiteY28" fmla="*/ 479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192000" h="6858000">
                <a:moveTo>
                  <a:pt x="1048909" y="0"/>
                </a:moveTo>
                <a:lnTo>
                  <a:pt x="1437815" y="0"/>
                </a:lnTo>
                <a:lnTo>
                  <a:pt x="1416616" y="63049"/>
                </a:lnTo>
                <a:cubicBezTo>
                  <a:pt x="992565" y="1544377"/>
                  <a:pt x="1463892" y="3409380"/>
                  <a:pt x="2816130" y="4208716"/>
                </a:cubicBezTo>
                <a:cubicBezTo>
                  <a:pt x="5009325" y="5504936"/>
                  <a:pt x="7251874" y="4378459"/>
                  <a:pt x="7652880" y="1881693"/>
                </a:cubicBezTo>
                <a:cubicBezTo>
                  <a:pt x="7782051" y="1285663"/>
                  <a:pt x="7787111" y="748706"/>
                  <a:pt x="7686890" y="260273"/>
                </a:cubicBezTo>
                <a:lnTo>
                  <a:pt x="7621110" y="0"/>
                </a:lnTo>
                <a:lnTo>
                  <a:pt x="8544177" y="0"/>
                </a:lnTo>
                <a:lnTo>
                  <a:pt x="8534881" y="27654"/>
                </a:lnTo>
                <a:cubicBezTo>
                  <a:pt x="8264692" y="917087"/>
                  <a:pt x="8339410" y="1890180"/>
                  <a:pt x="8868237" y="2461905"/>
                </a:cubicBezTo>
                <a:cubicBezTo>
                  <a:pt x="9562479" y="3216683"/>
                  <a:pt x="11087554" y="3034258"/>
                  <a:pt x="12032141" y="2639688"/>
                </a:cubicBezTo>
                <a:lnTo>
                  <a:pt x="12192000" y="2566729"/>
                </a:lnTo>
                <a:lnTo>
                  <a:pt x="12192000" y="5274395"/>
                </a:lnTo>
                <a:lnTo>
                  <a:pt x="12109445" y="5202936"/>
                </a:lnTo>
                <a:cubicBezTo>
                  <a:pt x="11001136" y="4281532"/>
                  <a:pt x="9774742" y="3519327"/>
                  <a:pt x="8843559" y="3187171"/>
                </a:cubicBezTo>
                <a:cubicBezTo>
                  <a:pt x="8013786" y="2893979"/>
                  <a:pt x="6434439" y="4418580"/>
                  <a:pt x="6548571" y="5362969"/>
                </a:cubicBezTo>
                <a:cubicBezTo>
                  <a:pt x="6624917" y="6006449"/>
                  <a:pt x="6909477" y="6262800"/>
                  <a:pt x="7312459" y="6747870"/>
                </a:cubicBezTo>
                <a:lnTo>
                  <a:pt x="7402349" y="6858000"/>
                </a:lnTo>
                <a:lnTo>
                  <a:pt x="6793220" y="6858000"/>
                </a:lnTo>
                <a:lnTo>
                  <a:pt x="6780454" y="6849222"/>
                </a:lnTo>
                <a:cubicBezTo>
                  <a:pt x="6043609" y="6404533"/>
                  <a:pt x="5082598" y="6474138"/>
                  <a:pt x="4262283" y="6852446"/>
                </a:cubicBezTo>
                <a:lnTo>
                  <a:pt x="4251244" y="6858000"/>
                </a:lnTo>
                <a:lnTo>
                  <a:pt x="1584781" y="6858000"/>
                </a:lnTo>
                <a:lnTo>
                  <a:pt x="1548685" y="6742445"/>
                </a:lnTo>
                <a:cubicBezTo>
                  <a:pt x="1258353" y="5895779"/>
                  <a:pt x="735767" y="5109994"/>
                  <a:pt x="193301" y="4363992"/>
                </a:cubicBezTo>
                <a:lnTo>
                  <a:pt x="0" y="4101454"/>
                </a:lnTo>
                <a:lnTo>
                  <a:pt x="0" y="1829578"/>
                </a:lnTo>
                <a:lnTo>
                  <a:pt x="44396" y="1812744"/>
                </a:lnTo>
                <a:cubicBezTo>
                  <a:pt x="583685" y="1572617"/>
                  <a:pt x="878396" y="656734"/>
                  <a:pt x="1036786" y="4791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500104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21720 w 12192000"/>
              <a:gd name="connsiteY3" fmla="*/ 6858000 h 6858000"/>
              <a:gd name="connsiteX4" fmla="*/ 7237775 w 12192000"/>
              <a:gd name="connsiteY4" fmla="*/ 6819435 h 6858000"/>
              <a:gd name="connsiteX5" fmla="*/ 3518715 w 12192000"/>
              <a:gd name="connsiteY5" fmla="*/ 3017531 h 6858000"/>
              <a:gd name="connsiteX6" fmla="*/ 315503 w 12192000"/>
              <a:gd name="connsiteY6" fmla="*/ 4221858 h 6858000"/>
              <a:gd name="connsiteX7" fmla="*/ 0 w 12192000"/>
              <a:gd name="connsiteY7" fmla="*/ 4410739 h 6858000"/>
              <a:gd name="connsiteX8" fmla="*/ 0 w 12192000"/>
              <a:gd name="connsiteY8" fmla="*/ 3559956 h 6858000"/>
              <a:gd name="connsiteX9" fmla="*/ 14834 w 12192000"/>
              <a:gd name="connsiteY9" fmla="*/ 3558786 h 6858000"/>
              <a:gd name="connsiteX10" fmla="*/ 2614859 w 12192000"/>
              <a:gd name="connsiteY10" fmla="*/ 2721259 h 6858000"/>
              <a:gd name="connsiteX11" fmla="*/ 4920506 w 12192000"/>
              <a:gd name="connsiteY11" fmla="*/ 16407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0104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21720" y="6858000"/>
                </a:lnTo>
                <a:lnTo>
                  <a:pt x="7237775" y="6819435"/>
                </a:lnTo>
                <a:cubicBezTo>
                  <a:pt x="8169822" y="4313901"/>
                  <a:pt x="5459267" y="2690590"/>
                  <a:pt x="3518715" y="3017531"/>
                </a:cubicBezTo>
                <a:cubicBezTo>
                  <a:pt x="2350334" y="3211959"/>
                  <a:pt x="1301685" y="3656366"/>
                  <a:pt x="315503" y="4221858"/>
                </a:cubicBezTo>
                <a:lnTo>
                  <a:pt x="0" y="4410739"/>
                </a:lnTo>
                <a:lnTo>
                  <a:pt x="0" y="3559956"/>
                </a:lnTo>
                <a:lnTo>
                  <a:pt x="14834" y="3558786"/>
                </a:lnTo>
                <a:cubicBezTo>
                  <a:pt x="1005734" y="3455332"/>
                  <a:pt x="2070964" y="3027175"/>
                  <a:pt x="2614859" y="2721259"/>
                </a:cubicBezTo>
                <a:cubicBezTo>
                  <a:pt x="3683753" y="2116371"/>
                  <a:pt x="4438525" y="1086171"/>
                  <a:pt x="4920506" y="16407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2816"/>
            <a:ext cx="1006525" cy="648509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buFont typeface="Arial" panose="020B0604020202020204" pitchFamily="34" charset="0"/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buNone/>
              <a:defRPr sz="5400" b="0">
                <a:ln>
                  <a:solidFill>
                    <a:schemeClr val="accent5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00</a:t>
            </a:r>
            <a:endParaRPr lang="en-US" dirty="0" smtClean="0"/>
          </a:p>
          <a:p>
            <a:pPr lvl="0"/>
            <a:endParaRPr lang="en-US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7296000" y="1772816"/>
            <a:ext cx="4272112" cy="700567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 smtClean="0"/>
              <a:t>Chapter name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noProof="0" dirty="0"/>
          </a:p>
        </p:txBody>
      </p:sp>
      <p:grpSp>
        <p:nvGrpSpPr>
          <p:cNvPr id="19" name="Group 18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accent5"/>
          </a:solidFill>
        </p:grpSpPr>
        <p:sp>
          <p:nvSpPr>
            <p:cNvPr id="20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 smtClean="0"/>
              <a:t>Add your contact details here.</a:t>
            </a:r>
            <a:endParaRPr lang="en-US" noProof="0" dirty="0"/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grpSp>
        <p:nvGrpSpPr>
          <p:cNvPr id="2" name="Logo Merck"/>
          <p:cNvGrpSpPr/>
          <p:nvPr userDrawn="1"/>
        </p:nvGrpSpPr>
        <p:grpSpPr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3504621" y="3931827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624114" y="3932953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grpSp>
        <p:nvGrpSpPr>
          <p:cNvPr id="9" name="Logo Merck"/>
          <p:cNvGrpSpPr/>
          <p:nvPr userDrawn="1"/>
        </p:nvGrpSpPr>
        <p:grpSpPr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3504621" y="3931827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624114" y="3932953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 smtClean="0"/>
              <a:t>Contact (please edit)</a:t>
            </a:r>
          </a:p>
        </p:txBody>
      </p:sp>
      <p:grpSp>
        <p:nvGrpSpPr>
          <p:cNvPr id="9" name="Logo Merck"/>
          <p:cNvGrpSpPr/>
          <p:nvPr userDrawn="1"/>
        </p:nvGrpSpPr>
        <p:grpSpPr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6343 h 6536"/>
                <a:gd name="T2" fmla="*/ 13648 w 13648"/>
                <a:gd name="T3" fmla="*/ 6112 h 6536"/>
                <a:gd name="T4" fmla="*/ 13648 w 13648"/>
                <a:gd name="T5" fmla="*/ 961 h 6536"/>
                <a:gd name="T6" fmla="*/ 12687 w 13648"/>
                <a:gd name="T7" fmla="*/ 0 h 6536"/>
                <a:gd name="T8" fmla="*/ 11669 w 13648"/>
                <a:gd name="T9" fmla="*/ 0 h 6536"/>
                <a:gd name="T10" fmla="*/ 11538 w 13648"/>
                <a:gd name="T11" fmla="*/ 53 h 6536"/>
                <a:gd name="T12" fmla="*/ 9497 w 13648"/>
                <a:gd name="T13" fmla="*/ 1968 h 6536"/>
                <a:gd name="T14" fmla="*/ 6824 w 13648"/>
                <a:gd name="T15" fmla="*/ 2994 h 6536"/>
                <a:gd name="T16" fmla="*/ 4064 w 13648"/>
                <a:gd name="T17" fmla="*/ 1885 h 6536"/>
                <a:gd name="T18" fmla="*/ 2550 w 13648"/>
                <a:gd name="T19" fmla="*/ 463 h 6536"/>
                <a:gd name="T20" fmla="*/ 1410 w 13648"/>
                <a:gd name="T21" fmla="*/ 0 h 6536"/>
                <a:gd name="T22" fmla="*/ 192 w 13648"/>
                <a:gd name="T23" fmla="*/ 0 h 6536"/>
                <a:gd name="T24" fmla="*/ 0 w 13648"/>
                <a:gd name="T25" fmla="*/ 192 h 6536"/>
                <a:gd name="T26" fmla="*/ 0 w 13648"/>
                <a:gd name="T27" fmla="*/ 5575 h 6536"/>
                <a:gd name="T28" fmla="*/ 961 w 13648"/>
                <a:gd name="T29" fmla="*/ 6536 h 6536"/>
                <a:gd name="T30" fmla="*/ 1333 w 13648"/>
                <a:gd name="T31" fmla="*/ 6536 h 6536"/>
                <a:gd name="T32" fmla="*/ 1584 w 13648"/>
                <a:gd name="T33" fmla="*/ 6536 h 6536"/>
                <a:gd name="T34" fmla="*/ 1777 w 13648"/>
                <a:gd name="T35" fmla="*/ 6342 h 6536"/>
                <a:gd name="T36" fmla="*/ 1778 w 13648"/>
                <a:gd name="T37" fmla="*/ 4427 h 6536"/>
                <a:gd name="T38" fmla="*/ 2679 w 13648"/>
                <a:gd name="T39" fmla="*/ 3514 h 6536"/>
                <a:gd name="T40" fmla="*/ 4847 w 13648"/>
                <a:gd name="T41" fmla="*/ 4823 h 6536"/>
                <a:gd name="T42" fmla="*/ 6824 w 13648"/>
                <a:gd name="T43" fmla="*/ 6085 h 6536"/>
                <a:gd name="T44" fmla="*/ 8801 w 13648"/>
                <a:gd name="T45" fmla="*/ 4823 h 6536"/>
                <a:gd name="T46" fmla="*/ 10968 w 13648"/>
                <a:gd name="T47" fmla="*/ 3514 h 6536"/>
                <a:gd name="T48" fmla="*/ 11869 w 13648"/>
                <a:gd name="T49" fmla="*/ 4419 h 6536"/>
                <a:gd name="T50" fmla="*/ 11869 w 13648"/>
                <a:gd name="T51" fmla="*/ 5575 h 6536"/>
                <a:gd name="T52" fmla="*/ 12831 w 13648"/>
                <a:gd name="T53" fmla="*/ 6535 h 6536"/>
                <a:gd name="T54" fmla="*/ 13246 w 13648"/>
                <a:gd name="T55" fmla="*/ 6535 h 6536"/>
                <a:gd name="T56" fmla="*/ 13455 w 13648"/>
                <a:gd name="T57" fmla="*/ 6536 h 6536"/>
                <a:gd name="T58" fmla="*/ 13455 w 13648"/>
                <a:gd name="T59" fmla="*/ 6536 h 6536"/>
                <a:gd name="T60" fmla="*/ 13648 w 13648"/>
                <a:gd name="T61" fmla="*/ 6343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648" h="6536">
                  <a:moveTo>
                    <a:pt x="13648" y="6343"/>
                  </a:moveTo>
                  <a:cubicBezTo>
                    <a:pt x="13648" y="6112"/>
                    <a:pt x="13648" y="6112"/>
                    <a:pt x="13648" y="6112"/>
                  </a:cubicBezTo>
                  <a:cubicBezTo>
                    <a:pt x="13648" y="5089"/>
                    <a:pt x="13648" y="1001"/>
                    <a:pt x="13648" y="961"/>
                  </a:cubicBezTo>
                  <a:cubicBezTo>
                    <a:pt x="13648" y="430"/>
                    <a:pt x="1321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8" y="2625"/>
                    <a:pt x="7858" y="2994"/>
                    <a:pt x="6824" y="2994"/>
                  </a:cubicBezTo>
                  <a:cubicBezTo>
                    <a:pt x="5746" y="2994"/>
                    <a:pt x="4770" y="2591"/>
                    <a:pt x="4064" y="1885"/>
                  </a:cubicBezTo>
                  <a:cubicBezTo>
                    <a:pt x="4064" y="1885"/>
                    <a:pt x="2563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5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2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3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3"/>
                  </a:cubicBezTo>
                  <a:cubicBezTo>
                    <a:pt x="9395" y="4299"/>
                    <a:pt x="10052" y="3514"/>
                    <a:pt x="10968" y="3514"/>
                  </a:cubicBezTo>
                  <a:cubicBezTo>
                    <a:pt x="11458" y="3514"/>
                    <a:pt x="11865" y="3922"/>
                    <a:pt x="11869" y="4419"/>
                  </a:cubicBezTo>
                  <a:cubicBezTo>
                    <a:pt x="11869" y="4419"/>
                    <a:pt x="11869" y="5567"/>
                    <a:pt x="11869" y="5575"/>
                  </a:cubicBezTo>
                  <a:cubicBezTo>
                    <a:pt x="11869" y="6105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4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1" y="6536"/>
                    <a:pt x="13648" y="6449"/>
                    <a:pt x="13648" y="6343"/>
                  </a:cubicBezTo>
                  <a:close/>
                </a:path>
              </a:pathLst>
            </a:custGeom>
            <a:solidFill>
              <a:srgbClr val="FFC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26" b="7903"/>
          <a:stretch/>
        </p:blipFill>
        <p:spPr>
          <a:xfrm>
            <a:off x="-1" y="-18107"/>
            <a:ext cx="12192002" cy="6871580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38600" y="2404526"/>
            <a:ext cx="4114800" cy="2048363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 userDrawn="1"/>
        </p:nvGrpSpPr>
        <p:grpSpPr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6240464" y="1412776"/>
            <a:ext cx="532765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</a:t>
            </a:r>
            <a:br>
              <a:rPr lang="en-US" dirty="0" smtClean="0"/>
            </a:br>
            <a:r>
              <a:rPr lang="en-US" dirty="0" smtClean="0"/>
              <a:t>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3392" y="1412776"/>
            <a:ext cx="532765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</a:t>
            </a:r>
            <a:br>
              <a:rPr lang="en-US" dirty="0" smtClean="0"/>
            </a:br>
            <a:r>
              <a:rPr lang="en-US" dirty="0" smtClean="0"/>
              <a:t>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623888" y="1412775"/>
            <a:ext cx="10944227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624845" y="1412777"/>
            <a:ext cx="3454931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368803" y="1412777"/>
            <a:ext cx="3455986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8112000" y="1412776"/>
            <a:ext cx="3456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1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624125" y="1412777"/>
            <a:ext cx="2519125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432159" y="1412777"/>
            <a:ext cx="2519825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Or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240000" y="1412776"/>
            <a:ext cx="2519825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9048750" y="1412776"/>
            <a:ext cx="2518051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Or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623888" y="1412776"/>
            <a:ext cx="8135936" cy="468005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9048750" y="1412776"/>
            <a:ext cx="2518051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623888" y="1412776"/>
            <a:ext cx="3888112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, a </a:t>
            </a:r>
            <a:r>
              <a:rPr lang="en-US" dirty="0" err="1" smtClean="0"/>
              <a:t>SmartArts</a:t>
            </a:r>
            <a:r>
              <a:rPr lang="en-US" dirty="0" smtClean="0"/>
              <a:t> or tex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4871713" y="1412776"/>
            <a:ext cx="3888112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, a </a:t>
            </a:r>
            <a:r>
              <a:rPr lang="en-US" dirty="0" err="1" smtClean="0"/>
              <a:t>SmartArts</a:t>
            </a:r>
            <a:r>
              <a:rPr lang="en-US" dirty="0" smtClean="0"/>
              <a:t> or tex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9048750" y="1412776"/>
            <a:ext cx="2518051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9048750" y="1412776"/>
            <a:ext cx="2518051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623888" y="1484310"/>
            <a:ext cx="8135936" cy="4608515"/>
          </a:xfrm>
          <a:blipFill>
            <a:blip r:embed="rId2"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6240464" y="1484313"/>
            <a:ext cx="5327650" cy="4608515"/>
          </a:xfrm>
          <a:blipFill>
            <a:blip r:embed="rId2"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623888" y="1412776"/>
            <a:ext cx="5327650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 or</a:t>
            </a:r>
            <a:br>
              <a:rPr lang="en-US" dirty="0" smtClean="0"/>
            </a:br>
            <a:r>
              <a:rPr lang="en-US" dirty="0" smtClean="0"/>
              <a:t>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240464" y="1412776"/>
            <a:ext cx="5327650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You can use this field to enter text, a table, a diagram or</a:t>
            </a:r>
            <a:br>
              <a:rPr lang="en-US" dirty="0" smtClean="0"/>
            </a:br>
            <a:r>
              <a:rPr lang="en-US" dirty="0" smtClean="0"/>
              <a:t>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623888" y="1484310"/>
            <a:ext cx="5327650" cy="4608515"/>
          </a:xfrm>
          <a:blipFill>
            <a:blip r:embed="rId2"/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623888" y="4437469"/>
            <a:ext cx="3888112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Use this field to enter text, table, diagram,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bullet levels. 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4871713" y="4437469"/>
            <a:ext cx="3888112" cy="1655827"/>
          </a:xfrm>
        </p:spPr>
        <p:txBody>
          <a:bodyPr/>
          <a:lstStyle/>
          <a:p>
            <a:pPr lvl="0"/>
            <a:r>
              <a:rPr lang="en-US" dirty="0" smtClean="0"/>
              <a:t>Use this field to enter text, table, diagram,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bullet levels. 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9048750" y="1413247"/>
            <a:ext cx="2518051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You can use this field to enter marginal note, a table, a diagram or a SmartArt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4076700"/>
            <a:ext cx="8135936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noProof="0" dirty="0" smtClean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623888" y="1484310"/>
            <a:ext cx="8135936" cy="2376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74097" b="-79375"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9048750" y="1484310"/>
            <a:ext cx="2518051" cy="460851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5681" r="-65681"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623888" y="1412776"/>
            <a:ext cx="8135936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 or a SmartArt.</a:t>
            </a:r>
            <a:br>
              <a:rPr lang="en-US" dirty="0" smtClean="0"/>
            </a:br>
            <a:r>
              <a:rPr lang="en-US" dirty="0" smtClean="0"/>
              <a:t>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</a:t>
            </a:r>
            <a:br>
              <a:rPr lang="en-US" dirty="0" smtClean="0"/>
            </a:br>
            <a:r>
              <a:rPr lang="en-US" dirty="0" smtClean="0"/>
              <a:t>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430866" y="1412776"/>
            <a:ext cx="8135936" cy="468005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a SmartArt.</a:t>
            </a:r>
            <a:br>
              <a:rPr lang="en-US" dirty="0" smtClean="0"/>
            </a:br>
            <a:r>
              <a:rPr lang="en-US" dirty="0" smtClean="0"/>
              <a:t>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</a:t>
            </a:r>
            <a:br>
              <a:rPr lang="en-US" dirty="0" smtClean="0"/>
            </a:br>
            <a:r>
              <a:rPr lang="en-US" dirty="0" smtClean="0"/>
              <a:t>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623888" y="1484310"/>
            <a:ext cx="2518051" cy="460851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7384" r="-67384"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263056" y="157877"/>
            <a:ext cx="641166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smtClean="0"/>
              <a:t>R&amp;D Project Strategy| Oct-201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 smtClean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6600057" y="476251"/>
            <a:ext cx="4392489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 smtClean="0"/>
              <a:t>You can use this field to enter text, a table, a diagram or a SmartArt.</a:t>
            </a:r>
            <a:br>
              <a:rPr lang="en-US" dirty="0" smtClean="0"/>
            </a:br>
            <a:r>
              <a:rPr lang="en-US" dirty="0" smtClean="0"/>
              <a:t>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</a:t>
            </a:r>
            <a:br>
              <a:rPr lang="en-US" dirty="0" smtClean="0"/>
            </a:br>
            <a:r>
              <a:rPr lang="en-US" dirty="0" smtClean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228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noProof="0" smtClean="0"/>
              <a:pPr/>
              <a:t>‹N°›</a:t>
            </a:fld>
            <a:endParaRPr lang="en-US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noProof="0" smtClean="0"/>
              <a:pPr/>
              <a:t>‹N°›</a:t>
            </a:fld>
            <a:endParaRPr lang="en-US" noProof="0" dirty="0"/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12775"/>
            <a:ext cx="10944227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 smtClean="0"/>
              <a:t>Insert your agenda points here. Use the button “increase list level” to add </a:t>
            </a:r>
            <a:r>
              <a:rPr lang="en-US" dirty="0" err="1" smtClean="0"/>
              <a:t>subitems</a:t>
            </a:r>
            <a:r>
              <a:rPr lang="en-US" dirty="0" smtClean="0"/>
              <a:t>.</a:t>
            </a:r>
            <a:br>
              <a:rPr lang="en-US" dirty="0" smtClean="0"/>
            </a:br>
            <a:r>
              <a:rPr lang="en-US" dirty="0" smtClean="0"/>
              <a:t>You can find other agenda designs within the slide library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/>
          <p:nvPr userDrawn="1"/>
        </p:nvSpPr>
        <p:spPr bwMode="gray">
          <a:xfrm>
            <a:off x="1" y="1885410"/>
            <a:ext cx="1552255" cy="818268"/>
          </a:xfrm>
          <a:custGeom>
            <a:avLst/>
            <a:gdLst/>
            <a:ahLst/>
            <a:cxnLst/>
            <a:rect l="l" t="t" r="r" b="b"/>
            <a:pathLst>
              <a:path w="1552255" h="818268">
                <a:moveTo>
                  <a:pt x="876974" y="0"/>
                </a:moveTo>
                <a:lnTo>
                  <a:pt x="891654" y="0"/>
                </a:lnTo>
                <a:lnTo>
                  <a:pt x="891959" y="0"/>
                </a:lnTo>
                <a:lnTo>
                  <a:pt x="992885" y="327"/>
                </a:lnTo>
                <a:lnTo>
                  <a:pt x="1100691" y="573"/>
                </a:lnTo>
                <a:cubicBezTo>
                  <a:pt x="1118277" y="573"/>
                  <a:pt x="1139838" y="12929"/>
                  <a:pt x="1148401" y="28230"/>
                </a:cubicBezTo>
                <a:lnTo>
                  <a:pt x="1260184" y="222241"/>
                </a:lnTo>
                <a:cubicBezTo>
                  <a:pt x="1268747" y="237460"/>
                  <a:pt x="1268747" y="262172"/>
                  <a:pt x="1259878" y="277473"/>
                </a:cubicBezTo>
                <a:lnTo>
                  <a:pt x="1184795" y="406759"/>
                </a:lnTo>
                <a:cubicBezTo>
                  <a:pt x="1179443" y="416169"/>
                  <a:pt x="1173938" y="425579"/>
                  <a:pt x="1168586" y="434989"/>
                </a:cubicBezTo>
                <a:cubicBezTo>
                  <a:pt x="1166445" y="438753"/>
                  <a:pt x="1164305" y="442435"/>
                  <a:pt x="1162164" y="446200"/>
                </a:cubicBezTo>
                <a:cubicBezTo>
                  <a:pt x="1153295" y="461419"/>
                  <a:pt x="1160329" y="473775"/>
                  <a:pt x="1177761" y="473775"/>
                </a:cubicBezTo>
                <a:lnTo>
                  <a:pt x="1439402" y="474675"/>
                </a:lnTo>
                <a:cubicBezTo>
                  <a:pt x="1456682" y="474675"/>
                  <a:pt x="1478243" y="487276"/>
                  <a:pt x="1487112" y="502578"/>
                </a:cubicBezTo>
                <a:lnTo>
                  <a:pt x="1552255" y="616398"/>
                </a:lnTo>
                <a:cubicBezTo>
                  <a:pt x="1561124" y="631618"/>
                  <a:pt x="1561124" y="656330"/>
                  <a:pt x="1552255" y="671631"/>
                </a:cubicBezTo>
                <a:lnTo>
                  <a:pt x="1486042" y="785124"/>
                </a:lnTo>
                <a:cubicBezTo>
                  <a:pt x="1477632" y="800344"/>
                  <a:pt x="1455917" y="812700"/>
                  <a:pt x="1438485" y="812700"/>
                </a:cubicBezTo>
                <a:lnTo>
                  <a:pt x="1307129" y="812127"/>
                </a:lnTo>
                <a:cubicBezTo>
                  <a:pt x="1289544" y="812127"/>
                  <a:pt x="1267982" y="799771"/>
                  <a:pt x="1259419" y="784470"/>
                </a:cubicBezTo>
                <a:lnTo>
                  <a:pt x="1193971" y="670731"/>
                </a:lnTo>
                <a:cubicBezTo>
                  <a:pt x="1185407" y="655430"/>
                  <a:pt x="1185407" y="630800"/>
                  <a:pt x="1194276" y="615498"/>
                </a:cubicBezTo>
                <a:lnTo>
                  <a:pt x="1245656" y="526717"/>
                </a:lnTo>
                <a:cubicBezTo>
                  <a:pt x="1254526" y="511497"/>
                  <a:pt x="1247491" y="499059"/>
                  <a:pt x="1229753" y="499059"/>
                </a:cubicBezTo>
                <a:lnTo>
                  <a:pt x="986615" y="498159"/>
                </a:lnTo>
                <a:lnTo>
                  <a:pt x="890736" y="498159"/>
                </a:lnTo>
                <a:cubicBezTo>
                  <a:pt x="890430" y="498159"/>
                  <a:pt x="889971" y="497914"/>
                  <a:pt x="889666" y="497914"/>
                </a:cubicBezTo>
                <a:lnTo>
                  <a:pt x="875903" y="497914"/>
                </a:lnTo>
                <a:cubicBezTo>
                  <a:pt x="858318" y="497914"/>
                  <a:pt x="836756" y="485231"/>
                  <a:pt x="828193" y="470256"/>
                </a:cubicBezTo>
                <a:lnTo>
                  <a:pt x="821312" y="458473"/>
                </a:lnTo>
                <a:lnTo>
                  <a:pt x="744700" y="325096"/>
                </a:lnTo>
                <a:cubicBezTo>
                  <a:pt x="731702" y="302676"/>
                  <a:pt x="710600" y="302676"/>
                  <a:pt x="697602" y="325096"/>
                </a:cubicBezTo>
                <a:lnTo>
                  <a:pt x="434279" y="777760"/>
                </a:lnTo>
                <a:cubicBezTo>
                  <a:pt x="421128" y="800344"/>
                  <a:pt x="389321" y="818591"/>
                  <a:pt x="363325" y="818264"/>
                </a:cubicBezTo>
                <a:lnTo>
                  <a:pt x="0" y="818035"/>
                </a:lnTo>
                <a:lnTo>
                  <a:pt x="0" y="86319"/>
                </a:lnTo>
                <a:lnTo>
                  <a:pt x="17274" y="81417"/>
                </a:lnTo>
                <a:cubicBezTo>
                  <a:pt x="65443" y="78717"/>
                  <a:pt x="234569" y="81581"/>
                  <a:pt x="343140" y="81663"/>
                </a:cubicBezTo>
                <a:lnTo>
                  <a:pt x="365160" y="81663"/>
                </a:lnTo>
                <a:cubicBezTo>
                  <a:pt x="391003" y="81990"/>
                  <a:pt x="422810" y="100156"/>
                  <a:pt x="435655" y="122903"/>
                </a:cubicBezTo>
                <a:lnTo>
                  <a:pt x="579856" y="373047"/>
                </a:lnTo>
                <a:cubicBezTo>
                  <a:pt x="592395" y="395303"/>
                  <a:pt x="613650" y="395303"/>
                  <a:pt x="626801" y="373047"/>
                </a:cubicBezTo>
                <a:lnTo>
                  <a:pt x="810608" y="59324"/>
                </a:lnTo>
                <a:lnTo>
                  <a:pt x="829111" y="27330"/>
                </a:lnTo>
                <a:cubicBezTo>
                  <a:pt x="837827" y="12356"/>
                  <a:pt x="859388" y="0"/>
                  <a:pt x="876974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" name="Freeform 37"/>
          <p:cNvSpPr>
            <a:spLocks/>
          </p:cNvSpPr>
          <p:nvPr userDrawn="1"/>
        </p:nvSpPr>
        <p:spPr bwMode="gray">
          <a:xfrm>
            <a:off x="495022" y="2449806"/>
            <a:ext cx="853273" cy="938466"/>
          </a:xfrm>
          <a:custGeom>
            <a:avLst/>
            <a:gdLst>
              <a:gd name="T0" fmla="*/ 2900 w 2953"/>
              <a:gd name="T1" fmla="*/ 2800 h 2900"/>
              <a:gd name="T2" fmla="*/ 2620 w 2953"/>
              <a:gd name="T3" fmla="*/ 2639 h 2900"/>
              <a:gd name="T4" fmla="*/ 1478 w 2953"/>
              <a:gd name="T5" fmla="*/ 2637 h 2900"/>
              <a:gd name="T6" fmla="*/ 1385 w 2953"/>
              <a:gd name="T7" fmla="*/ 2476 h 2900"/>
              <a:gd name="T8" fmla="*/ 2148 w 2953"/>
              <a:gd name="T9" fmla="*/ 1150 h 2900"/>
              <a:gd name="T10" fmla="*/ 2148 w 2953"/>
              <a:gd name="T11" fmla="*/ 828 h 2900"/>
              <a:gd name="T12" fmla="*/ 1764 w 2953"/>
              <a:gd name="T13" fmla="*/ 162 h 2900"/>
              <a:gd name="T14" fmla="*/ 1485 w 2953"/>
              <a:gd name="T15" fmla="*/ 0 h 2900"/>
              <a:gd name="T16" fmla="*/ 715 w 2953"/>
              <a:gd name="T17" fmla="*/ 0 h 2900"/>
              <a:gd name="T18" fmla="*/ 436 w 2953"/>
              <a:gd name="T19" fmla="*/ 161 h 2900"/>
              <a:gd name="T20" fmla="*/ 51 w 2953"/>
              <a:gd name="T21" fmla="*/ 827 h 2900"/>
              <a:gd name="T22" fmla="*/ 51 w 2953"/>
              <a:gd name="T23" fmla="*/ 1150 h 2900"/>
              <a:gd name="T24" fmla="*/ 436 w 2953"/>
              <a:gd name="T25" fmla="*/ 1816 h 2900"/>
              <a:gd name="T26" fmla="*/ 715 w 2953"/>
              <a:gd name="T27" fmla="*/ 1977 h 2900"/>
              <a:gd name="T28" fmla="*/ 1317 w 2953"/>
              <a:gd name="T29" fmla="*/ 1977 h 2900"/>
              <a:gd name="T30" fmla="*/ 1410 w 2953"/>
              <a:gd name="T31" fmla="*/ 2139 h 2900"/>
              <a:gd name="T32" fmla="*/ 972 w 2953"/>
              <a:gd name="T33" fmla="*/ 2900 h 2900"/>
              <a:gd name="T34" fmla="*/ 2953 w 2953"/>
              <a:gd name="T35" fmla="*/ 2893 h 2900"/>
              <a:gd name="T36" fmla="*/ 2900 w 2953"/>
              <a:gd name="T37" fmla="*/ 2800 h 2900"/>
              <a:gd name="connsiteX0" fmla="*/ 9648 w 9827"/>
              <a:gd name="connsiteY0" fmla="*/ 9655 h 11005"/>
              <a:gd name="connsiteX1" fmla="*/ 8699 w 9827"/>
              <a:gd name="connsiteY1" fmla="*/ 9100 h 11005"/>
              <a:gd name="connsiteX2" fmla="*/ 4832 w 9827"/>
              <a:gd name="connsiteY2" fmla="*/ 9093 h 11005"/>
              <a:gd name="connsiteX3" fmla="*/ 4517 w 9827"/>
              <a:gd name="connsiteY3" fmla="*/ 8538 h 11005"/>
              <a:gd name="connsiteX4" fmla="*/ 7101 w 9827"/>
              <a:gd name="connsiteY4" fmla="*/ 3966 h 11005"/>
              <a:gd name="connsiteX5" fmla="*/ 7101 w 9827"/>
              <a:gd name="connsiteY5" fmla="*/ 2855 h 11005"/>
              <a:gd name="connsiteX6" fmla="*/ 5801 w 9827"/>
              <a:gd name="connsiteY6" fmla="*/ 559 h 11005"/>
              <a:gd name="connsiteX7" fmla="*/ 4856 w 9827"/>
              <a:gd name="connsiteY7" fmla="*/ 0 h 11005"/>
              <a:gd name="connsiteX8" fmla="*/ 2248 w 9827"/>
              <a:gd name="connsiteY8" fmla="*/ 0 h 11005"/>
              <a:gd name="connsiteX9" fmla="*/ 1303 w 9827"/>
              <a:gd name="connsiteY9" fmla="*/ 555 h 11005"/>
              <a:gd name="connsiteX10" fmla="*/ 0 w 9827"/>
              <a:gd name="connsiteY10" fmla="*/ 2852 h 11005"/>
              <a:gd name="connsiteX11" fmla="*/ 0 w 9827"/>
              <a:gd name="connsiteY11" fmla="*/ 3966 h 11005"/>
              <a:gd name="connsiteX12" fmla="*/ 1303 w 9827"/>
              <a:gd name="connsiteY12" fmla="*/ 6262 h 11005"/>
              <a:gd name="connsiteX13" fmla="*/ 2248 w 9827"/>
              <a:gd name="connsiteY13" fmla="*/ 6817 h 11005"/>
              <a:gd name="connsiteX14" fmla="*/ 4287 w 9827"/>
              <a:gd name="connsiteY14" fmla="*/ 6817 h 11005"/>
              <a:gd name="connsiteX15" fmla="*/ 4602 w 9827"/>
              <a:gd name="connsiteY15" fmla="*/ 7376 h 11005"/>
              <a:gd name="connsiteX16" fmla="*/ 2497 w 9827"/>
              <a:gd name="connsiteY16" fmla="*/ 11005 h 11005"/>
              <a:gd name="connsiteX17" fmla="*/ 9827 w 9827"/>
              <a:gd name="connsiteY17" fmla="*/ 9976 h 11005"/>
              <a:gd name="connsiteX18" fmla="*/ 9648 w 9827"/>
              <a:gd name="connsiteY18" fmla="*/ 9655 h 1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827" h="11005">
                <a:moveTo>
                  <a:pt x="9648" y="9655"/>
                </a:moveTo>
                <a:cubicBezTo>
                  <a:pt x="9471" y="9348"/>
                  <a:pt x="9048" y="9100"/>
                  <a:pt x="8699" y="9100"/>
                </a:cubicBezTo>
                <a:lnTo>
                  <a:pt x="4832" y="9093"/>
                </a:lnTo>
                <a:cubicBezTo>
                  <a:pt x="4487" y="9093"/>
                  <a:pt x="4344" y="8845"/>
                  <a:pt x="4517" y="8538"/>
                </a:cubicBezTo>
                <a:lnTo>
                  <a:pt x="7101" y="3966"/>
                </a:lnTo>
                <a:cubicBezTo>
                  <a:pt x="7277" y="3662"/>
                  <a:pt x="7277" y="3159"/>
                  <a:pt x="7101" y="2855"/>
                </a:cubicBezTo>
                <a:lnTo>
                  <a:pt x="5801" y="559"/>
                </a:lnTo>
                <a:cubicBezTo>
                  <a:pt x="5628" y="252"/>
                  <a:pt x="5201" y="0"/>
                  <a:pt x="4856" y="0"/>
                </a:cubicBezTo>
                <a:lnTo>
                  <a:pt x="2248" y="0"/>
                </a:lnTo>
                <a:cubicBezTo>
                  <a:pt x="1903" y="0"/>
                  <a:pt x="1476" y="252"/>
                  <a:pt x="1303" y="555"/>
                </a:cubicBezTo>
                <a:lnTo>
                  <a:pt x="0" y="2852"/>
                </a:lnTo>
                <a:cubicBezTo>
                  <a:pt x="-173" y="3159"/>
                  <a:pt x="-173" y="3659"/>
                  <a:pt x="0" y="3966"/>
                </a:cubicBezTo>
                <a:lnTo>
                  <a:pt x="1303" y="6262"/>
                </a:lnTo>
                <a:cubicBezTo>
                  <a:pt x="1476" y="6569"/>
                  <a:pt x="1903" y="6817"/>
                  <a:pt x="2248" y="6817"/>
                </a:cubicBezTo>
                <a:lnTo>
                  <a:pt x="4287" y="6817"/>
                </a:lnTo>
                <a:cubicBezTo>
                  <a:pt x="4632" y="6817"/>
                  <a:pt x="4900" y="6678"/>
                  <a:pt x="4602" y="7376"/>
                </a:cubicBezTo>
                <a:cubicBezTo>
                  <a:pt x="4304" y="8074"/>
                  <a:pt x="2497" y="11005"/>
                  <a:pt x="2497" y="11005"/>
                </a:cubicBezTo>
                <a:cubicBezTo>
                  <a:pt x="9205" y="10981"/>
                  <a:pt x="9827" y="9976"/>
                  <a:pt x="9827" y="9976"/>
                </a:cubicBezTo>
                <a:lnTo>
                  <a:pt x="9648" y="9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Rectangle 2"/>
          <p:cNvSpPr/>
          <p:nvPr userDrawn="1"/>
        </p:nvSpPr>
        <p:spPr bwMode="gray">
          <a:xfrm>
            <a:off x="-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9" y="306723"/>
                  <a:pt x="4230370" y="306776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1" y="713203"/>
                  <a:pt x="4382093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2" y="78704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0" y="1362228"/>
                  <a:pt x="3578661" y="1359392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0" y="860305"/>
                  <a:pt x="3206097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4" y="930525"/>
                  <a:pt x="2513854" y="932363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7" y="1566810"/>
                  <a:pt x="2230408" y="1569375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62" y="2132859"/>
                  <a:pt x="2639988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6" y="2062341"/>
                  <a:pt x="3332771" y="2059049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6" y="1279278"/>
                  <a:pt x="3866100" y="1280911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96" y="1577240"/>
                  <a:pt x="4121116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9" y="1505267"/>
                  <a:pt x="4579756" y="1502951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1" y="1074116"/>
                  <a:pt x="4744040" y="1070620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8" y="425385"/>
                  <a:pt x="4455756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8" y="354577"/>
                  <a:pt x="5074799" y="352910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5519936" y="6858001"/>
                </a:lnTo>
                <a:lnTo>
                  <a:pt x="3798641" y="6858001"/>
                </a:lnTo>
                <a:lnTo>
                  <a:pt x="0" y="6858001"/>
                </a:lnTo>
                <a:lnTo>
                  <a:pt x="0" y="5845133"/>
                </a:lnTo>
                <a:lnTo>
                  <a:pt x="0" y="3429000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7" name="Picture Placeholder 31"/>
          <p:cNvSpPr>
            <a:spLocks noGrp="1"/>
          </p:cNvSpPr>
          <p:nvPr>
            <p:ph type="pic" sz="quarter" idx="20"/>
          </p:nvPr>
        </p:nvSpPr>
        <p:spPr bwMode="gray">
          <a:xfrm>
            <a:off x="1263273" y="2341919"/>
            <a:ext cx="5552809" cy="4516082"/>
          </a:xfrm>
          <a:custGeom>
            <a:avLst/>
            <a:gdLst>
              <a:gd name="connsiteX0" fmla="*/ 1660621 w 5552809"/>
              <a:gd name="connsiteY0" fmla="*/ 0 h 4516082"/>
              <a:gd name="connsiteX1" fmla="*/ 3503449 w 5552809"/>
              <a:gd name="connsiteY1" fmla="*/ 0 h 4516082"/>
              <a:gd name="connsiteX2" fmla="*/ 3892671 w 5552809"/>
              <a:gd name="connsiteY2" fmla="*/ 0 h 4516082"/>
              <a:gd name="connsiteX3" fmla="*/ 4028266 w 5552809"/>
              <a:gd name="connsiteY3" fmla="*/ 21596 h 4516082"/>
              <a:gd name="connsiteX4" fmla="*/ 4369271 w 5552809"/>
              <a:gd name="connsiteY4" fmla="*/ 275207 h 4516082"/>
              <a:gd name="connsiteX5" fmla="*/ 5487175 w 5552809"/>
              <a:gd name="connsiteY5" fmla="*/ 2212080 h 4516082"/>
              <a:gd name="connsiteX6" fmla="*/ 5487175 w 5552809"/>
              <a:gd name="connsiteY6" fmla="*/ 2762650 h 4516082"/>
              <a:gd name="connsiteX7" fmla="*/ 4509009 w 5552809"/>
              <a:gd name="connsiteY7" fmla="*/ 4457414 h 4516082"/>
              <a:gd name="connsiteX8" fmla="*/ 4475148 w 5552809"/>
              <a:gd name="connsiteY8" fmla="*/ 4516082 h 4516082"/>
              <a:gd name="connsiteX9" fmla="*/ 1075176 w 5552809"/>
              <a:gd name="connsiteY9" fmla="*/ 4516082 h 4516082"/>
              <a:gd name="connsiteX10" fmla="*/ 989424 w 5552809"/>
              <a:gd name="connsiteY10" fmla="*/ 4367209 h 4516082"/>
              <a:gd name="connsiteX11" fmla="*/ 65634 w 5552809"/>
              <a:gd name="connsiteY11" fmla="*/ 2763432 h 4516082"/>
              <a:gd name="connsiteX12" fmla="*/ 65634 w 5552809"/>
              <a:gd name="connsiteY12" fmla="*/ 2212863 h 4516082"/>
              <a:gd name="connsiteX13" fmla="*/ 1184242 w 5552809"/>
              <a:gd name="connsiteY13" fmla="*/ 275990 h 4516082"/>
              <a:gd name="connsiteX14" fmla="*/ 1660621 w 5552809"/>
              <a:gd name="connsiteY14" fmla="*/ 0 h 451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552809" h="4516082">
                <a:moveTo>
                  <a:pt x="1660621" y="0"/>
                </a:moveTo>
                <a:cubicBezTo>
                  <a:pt x="1660621" y="0"/>
                  <a:pt x="1660621" y="0"/>
                  <a:pt x="3503449" y="0"/>
                </a:cubicBezTo>
                <a:lnTo>
                  <a:pt x="3892671" y="0"/>
                </a:lnTo>
                <a:lnTo>
                  <a:pt x="4028266" y="21596"/>
                </a:lnTo>
                <a:cubicBezTo>
                  <a:pt x="4166548" y="63450"/>
                  <a:pt x="4303639" y="161388"/>
                  <a:pt x="4369271" y="275207"/>
                </a:cubicBezTo>
                <a:cubicBezTo>
                  <a:pt x="5487175" y="2212080"/>
                  <a:pt x="5487175" y="2212080"/>
                  <a:pt x="5487175" y="2212080"/>
                </a:cubicBezTo>
                <a:cubicBezTo>
                  <a:pt x="5574687" y="2363839"/>
                  <a:pt x="5574687" y="2611596"/>
                  <a:pt x="5487175" y="2762650"/>
                </a:cubicBezTo>
                <a:cubicBezTo>
                  <a:pt x="4928223" y="3731086"/>
                  <a:pt x="4648747" y="4215305"/>
                  <a:pt x="4509009" y="4457414"/>
                </a:cubicBezTo>
                <a:lnTo>
                  <a:pt x="4475148" y="4516082"/>
                </a:lnTo>
                <a:lnTo>
                  <a:pt x="1075176" y="4516082"/>
                </a:lnTo>
                <a:lnTo>
                  <a:pt x="989424" y="4367209"/>
                </a:lnTo>
                <a:cubicBezTo>
                  <a:pt x="753668" y="3957915"/>
                  <a:pt x="451899" y="3434018"/>
                  <a:pt x="65634" y="2763432"/>
                </a:cubicBezTo>
                <a:cubicBezTo>
                  <a:pt x="-21878" y="2611673"/>
                  <a:pt x="-21878" y="2363916"/>
                  <a:pt x="65634" y="2212863"/>
                </a:cubicBezTo>
                <a:cubicBezTo>
                  <a:pt x="65634" y="2212863"/>
                  <a:pt x="65634" y="2212863"/>
                  <a:pt x="1184242" y="275990"/>
                </a:cubicBezTo>
                <a:cubicBezTo>
                  <a:pt x="1271754" y="124230"/>
                  <a:pt x="1486301" y="0"/>
                  <a:pt x="166062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527818" y="3501000"/>
            <a:ext cx="504029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</a:p>
          <a:p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28047" y="2493000"/>
            <a:ext cx="504006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28047" y="1340768"/>
            <a:ext cx="5040065" cy="1152920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8665" y="5338392"/>
            <a:ext cx="2520000" cy="12564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"/>
          <p:cNvSpPr/>
          <p:nvPr userDrawn="1"/>
        </p:nvSpPr>
        <p:spPr bwMode="gray">
          <a:xfrm>
            <a:off x="1" y="0"/>
            <a:ext cx="5832941" cy="6858000"/>
          </a:xfrm>
          <a:custGeom>
            <a:avLst/>
            <a:gdLst/>
            <a:ahLst/>
            <a:cxnLst/>
            <a:rect l="l" t="t" r="r" b="b"/>
            <a:pathLst>
              <a:path w="5832941" h="6859095">
                <a:moveTo>
                  <a:pt x="0" y="1095"/>
                </a:moveTo>
                <a:lnTo>
                  <a:pt x="2379070" y="1095"/>
                </a:lnTo>
                <a:lnTo>
                  <a:pt x="2375872" y="4439"/>
                </a:lnTo>
                <a:cubicBezTo>
                  <a:pt x="2375863" y="4452"/>
                  <a:pt x="2373953" y="7453"/>
                  <a:pt x="1944472" y="682162"/>
                </a:cubicBezTo>
                <a:cubicBezTo>
                  <a:pt x="1884685" y="775964"/>
                  <a:pt x="1877651" y="934256"/>
                  <a:pt x="1930404" y="1032749"/>
                </a:cubicBezTo>
                <a:cubicBezTo>
                  <a:pt x="1930408" y="1032756"/>
                  <a:pt x="1931244" y="1034335"/>
                  <a:pt x="2127348" y="1404441"/>
                </a:cubicBezTo>
                <a:cubicBezTo>
                  <a:pt x="2178929" y="1502934"/>
                  <a:pt x="2312569" y="1599081"/>
                  <a:pt x="2422764" y="1616669"/>
                </a:cubicBezTo>
                <a:cubicBezTo>
                  <a:pt x="2422777" y="1616671"/>
                  <a:pt x="2427199" y="1617400"/>
                  <a:pt x="3965491" y="1871109"/>
                </a:cubicBezTo>
                <a:cubicBezTo>
                  <a:pt x="4075686" y="1888697"/>
                  <a:pt x="4164779" y="1995397"/>
                  <a:pt x="4164779" y="2106788"/>
                </a:cubicBezTo>
                <a:cubicBezTo>
                  <a:pt x="4164779" y="2106805"/>
                  <a:pt x="4164779" y="2110586"/>
                  <a:pt x="4164779" y="2954528"/>
                </a:cubicBezTo>
                <a:cubicBezTo>
                  <a:pt x="4164779" y="3065918"/>
                  <a:pt x="4075686" y="3172618"/>
                  <a:pt x="3964319" y="3190206"/>
                </a:cubicBezTo>
                <a:cubicBezTo>
                  <a:pt x="3964302" y="3190209"/>
                  <a:pt x="3960071" y="3190896"/>
                  <a:pt x="2910435" y="3361396"/>
                </a:cubicBezTo>
                <a:cubicBezTo>
                  <a:pt x="2800240" y="3380156"/>
                  <a:pt x="2691217" y="3483339"/>
                  <a:pt x="2667772" y="3593557"/>
                </a:cubicBezTo>
                <a:cubicBezTo>
                  <a:pt x="2667771" y="3593562"/>
                  <a:pt x="2667429" y="3595183"/>
                  <a:pt x="2548199" y="4159890"/>
                </a:cubicBezTo>
                <a:cubicBezTo>
                  <a:pt x="2525925" y="4268935"/>
                  <a:pt x="2593918" y="4385016"/>
                  <a:pt x="2700595" y="4417847"/>
                </a:cubicBezTo>
                <a:cubicBezTo>
                  <a:pt x="2700612" y="4417852"/>
                  <a:pt x="2705245" y="4419265"/>
                  <a:pt x="4000659" y="4814162"/>
                </a:cubicBezTo>
                <a:cubicBezTo>
                  <a:pt x="4107337" y="4846993"/>
                  <a:pt x="4195259" y="4965419"/>
                  <a:pt x="4195259" y="5076809"/>
                </a:cubicBezTo>
                <a:cubicBezTo>
                  <a:pt x="4195259" y="5076821"/>
                  <a:pt x="4195259" y="5081382"/>
                  <a:pt x="4195259" y="6818752"/>
                </a:cubicBezTo>
                <a:lnTo>
                  <a:pt x="4195259" y="6859095"/>
                </a:lnTo>
                <a:lnTo>
                  <a:pt x="999485" y="6859095"/>
                </a:lnTo>
                <a:lnTo>
                  <a:pt x="963855" y="6799716"/>
                </a:lnTo>
                <a:cubicBezTo>
                  <a:pt x="953671" y="6773755"/>
                  <a:pt x="948029" y="6746201"/>
                  <a:pt x="948029" y="6718353"/>
                </a:cubicBezTo>
                <a:cubicBezTo>
                  <a:pt x="948029" y="6718334"/>
                  <a:pt x="948029" y="6713539"/>
                  <a:pt x="948029" y="5494230"/>
                </a:cubicBezTo>
                <a:cubicBezTo>
                  <a:pt x="948029" y="5381667"/>
                  <a:pt x="1026573" y="5243309"/>
                  <a:pt x="1122700" y="5185855"/>
                </a:cubicBezTo>
                <a:cubicBezTo>
                  <a:pt x="1122719" y="5185844"/>
                  <a:pt x="1127232" y="5183128"/>
                  <a:pt x="2217614" y="4526892"/>
                </a:cubicBezTo>
                <a:cubicBezTo>
                  <a:pt x="2313742" y="4469438"/>
                  <a:pt x="2409869" y="4333424"/>
                  <a:pt x="2433315" y="4223206"/>
                </a:cubicBezTo>
                <a:cubicBezTo>
                  <a:pt x="2433318" y="4223192"/>
                  <a:pt x="2433954" y="4220138"/>
                  <a:pt x="2573989" y="3547828"/>
                </a:cubicBezTo>
                <a:cubicBezTo>
                  <a:pt x="2596262" y="3438783"/>
                  <a:pt x="2545854" y="3288699"/>
                  <a:pt x="2461449" y="3216002"/>
                </a:cubicBezTo>
                <a:cubicBezTo>
                  <a:pt x="2461438" y="3215993"/>
                  <a:pt x="2459581" y="3214371"/>
                  <a:pt x="2128521" y="2925214"/>
                </a:cubicBezTo>
                <a:cubicBezTo>
                  <a:pt x="2044116" y="2852517"/>
                  <a:pt x="1904614" y="2850172"/>
                  <a:pt x="1817865" y="2921697"/>
                </a:cubicBezTo>
                <a:cubicBezTo>
                  <a:pt x="1817853" y="2921707"/>
                  <a:pt x="1814998" y="2924053"/>
                  <a:pt x="1102771" y="3509135"/>
                </a:cubicBezTo>
                <a:cubicBezTo>
                  <a:pt x="1017194" y="3580659"/>
                  <a:pt x="946857" y="3730743"/>
                  <a:pt x="946857" y="3842134"/>
                </a:cubicBezTo>
                <a:cubicBezTo>
                  <a:pt x="946857" y="3842145"/>
                  <a:pt x="946857" y="3845670"/>
                  <a:pt x="946857" y="4995905"/>
                </a:cubicBezTo>
                <a:cubicBezTo>
                  <a:pt x="946857" y="5107295"/>
                  <a:pt x="860108" y="5228066"/>
                  <a:pt x="753430" y="5264414"/>
                </a:cubicBezTo>
                <a:cubicBezTo>
                  <a:pt x="753412" y="5264420"/>
                  <a:pt x="750175" y="5265507"/>
                  <a:pt x="146651" y="5468184"/>
                </a:cubicBezTo>
                <a:lnTo>
                  <a:pt x="0" y="5517432"/>
                </a:lnTo>
                <a:lnTo>
                  <a:pt x="0" y="3305712"/>
                </a:lnTo>
                <a:lnTo>
                  <a:pt x="96951" y="3327228"/>
                </a:lnTo>
                <a:cubicBezTo>
                  <a:pt x="255209" y="3362349"/>
                  <a:pt x="466220" y="3409177"/>
                  <a:pt x="747569" y="3471614"/>
                </a:cubicBezTo>
                <a:cubicBezTo>
                  <a:pt x="856591" y="3496237"/>
                  <a:pt x="1017194" y="3457543"/>
                  <a:pt x="1102771" y="3386019"/>
                </a:cubicBezTo>
                <a:cubicBezTo>
                  <a:pt x="1102784" y="3386009"/>
                  <a:pt x="1105685" y="3383597"/>
                  <a:pt x="1768629" y="2832584"/>
                </a:cubicBezTo>
                <a:cubicBezTo>
                  <a:pt x="1854206" y="2761060"/>
                  <a:pt x="1942127" y="2613321"/>
                  <a:pt x="1964400" y="2504275"/>
                </a:cubicBezTo>
                <a:cubicBezTo>
                  <a:pt x="1964403" y="2504262"/>
                  <a:pt x="1964982" y="2501309"/>
                  <a:pt x="2095697" y="1834760"/>
                </a:cubicBezTo>
                <a:cubicBezTo>
                  <a:pt x="2116797" y="1724542"/>
                  <a:pt x="2091007" y="1554525"/>
                  <a:pt x="2038254" y="1456033"/>
                </a:cubicBezTo>
                <a:cubicBezTo>
                  <a:pt x="2038251" y="1456027"/>
                  <a:pt x="2037470" y="1454557"/>
                  <a:pt x="1830760" y="1065579"/>
                </a:cubicBezTo>
                <a:cubicBezTo>
                  <a:pt x="1778007" y="967087"/>
                  <a:pt x="1644367" y="876802"/>
                  <a:pt x="1533000" y="866249"/>
                </a:cubicBezTo>
                <a:cubicBezTo>
                  <a:pt x="1532991" y="866248"/>
                  <a:pt x="1529527" y="865906"/>
                  <a:pt x="252897" y="739783"/>
                </a:cubicBezTo>
                <a:lnTo>
                  <a:pt x="0" y="714798"/>
                </a:lnTo>
                <a:close/>
                <a:moveTo>
                  <a:pt x="2916470" y="0"/>
                </a:moveTo>
                <a:lnTo>
                  <a:pt x="3205161" y="0"/>
                </a:lnTo>
                <a:lnTo>
                  <a:pt x="3205161" y="1095"/>
                </a:lnTo>
                <a:lnTo>
                  <a:pt x="5832941" y="1095"/>
                </a:lnTo>
                <a:lnTo>
                  <a:pt x="5832941" y="26517"/>
                </a:lnTo>
                <a:cubicBezTo>
                  <a:pt x="5832941" y="128773"/>
                  <a:pt x="5832941" y="362500"/>
                  <a:pt x="5832941" y="896735"/>
                </a:cubicBezTo>
                <a:cubicBezTo>
                  <a:pt x="5832941" y="1008125"/>
                  <a:pt x="5749709" y="1138277"/>
                  <a:pt x="5647720" y="1185178"/>
                </a:cubicBezTo>
                <a:cubicBezTo>
                  <a:pt x="5647705" y="1185185"/>
                  <a:pt x="5645028" y="1186430"/>
                  <a:pt x="5163566" y="1410304"/>
                </a:cubicBezTo>
                <a:cubicBezTo>
                  <a:pt x="5062750" y="1457205"/>
                  <a:pt x="4903319" y="1444307"/>
                  <a:pt x="4810708" y="1382163"/>
                </a:cubicBezTo>
                <a:cubicBezTo>
                  <a:pt x="4810695" y="1382154"/>
                  <a:pt x="4805643" y="1378788"/>
                  <a:pt x="2849670" y="75240"/>
                </a:cubicBezTo>
                <a:lnTo>
                  <a:pt x="2738416" y="1095"/>
                </a:lnTo>
                <a:lnTo>
                  <a:pt x="2916470" y="109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0" name="Freeform 40"/>
          <p:cNvSpPr>
            <a:spLocks/>
          </p:cNvSpPr>
          <p:nvPr userDrawn="1"/>
        </p:nvSpPr>
        <p:spPr bwMode="gray">
          <a:xfrm>
            <a:off x="2244725" y="1631950"/>
            <a:ext cx="1920875" cy="1468438"/>
          </a:xfrm>
          <a:custGeom>
            <a:avLst/>
            <a:gdLst>
              <a:gd name="T0" fmla="*/ 658 w 1639"/>
              <a:gd name="T1" fmla="*/ 632 h 1252"/>
              <a:gd name="T2" fmla="*/ 1321 w 1639"/>
              <a:gd name="T3" fmla="*/ 959 h 1252"/>
              <a:gd name="T4" fmla="*/ 1553 w 1639"/>
              <a:gd name="T5" fmla="*/ 866 h 1252"/>
              <a:gd name="T6" fmla="*/ 1639 w 1639"/>
              <a:gd name="T7" fmla="*/ 631 h 1252"/>
              <a:gd name="T8" fmla="*/ 1639 w 1639"/>
              <a:gd name="T9" fmla="*/ 406 h 1252"/>
              <a:gd name="T10" fmla="*/ 1468 w 1639"/>
              <a:gd name="T11" fmla="*/ 204 h 1252"/>
              <a:gd name="T12" fmla="*/ 229 w 1639"/>
              <a:gd name="T13" fmla="*/ 0 h 1252"/>
              <a:gd name="T14" fmla="*/ 354 w 1639"/>
              <a:gd name="T15" fmla="*/ 133 h 1252"/>
              <a:gd name="T16" fmla="*/ 389 w 1639"/>
              <a:gd name="T17" fmla="*/ 280 h 1252"/>
              <a:gd name="T18" fmla="*/ 336 w 1639"/>
              <a:gd name="T19" fmla="*/ 624 h 1252"/>
              <a:gd name="T20" fmla="*/ 0 w 1639"/>
              <a:gd name="T21" fmla="*/ 1189 h 1252"/>
              <a:gd name="T22" fmla="*/ 72 w 1639"/>
              <a:gd name="T23" fmla="*/ 1252 h 1252"/>
              <a:gd name="T24" fmla="*/ 394 w 1639"/>
              <a:gd name="T25" fmla="*/ 710 h 1252"/>
              <a:gd name="T26" fmla="*/ 658 w 1639"/>
              <a:gd name="T27" fmla="*/ 632 h 1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39" h="1252">
                <a:moveTo>
                  <a:pt x="658" y="632"/>
                </a:moveTo>
                <a:cubicBezTo>
                  <a:pt x="1321" y="959"/>
                  <a:pt x="1321" y="959"/>
                  <a:pt x="1321" y="959"/>
                </a:cubicBezTo>
                <a:cubicBezTo>
                  <a:pt x="1413" y="1005"/>
                  <a:pt x="1518" y="963"/>
                  <a:pt x="1553" y="866"/>
                </a:cubicBezTo>
                <a:cubicBezTo>
                  <a:pt x="1639" y="631"/>
                  <a:pt x="1639" y="631"/>
                  <a:pt x="1639" y="631"/>
                </a:cubicBezTo>
                <a:cubicBezTo>
                  <a:pt x="1639" y="406"/>
                  <a:pt x="1639" y="406"/>
                  <a:pt x="1639" y="406"/>
                </a:cubicBezTo>
                <a:cubicBezTo>
                  <a:pt x="1639" y="310"/>
                  <a:pt x="1562" y="220"/>
                  <a:pt x="1468" y="204"/>
                </a:cubicBezTo>
                <a:cubicBezTo>
                  <a:pt x="229" y="0"/>
                  <a:pt x="229" y="0"/>
                  <a:pt x="229" y="0"/>
                </a:cubicBezTo>
                <a:cubicBezTo>
                  <a:pt x="289" y="19"/>
                  <a:pt x="338" y="68"/>
                  <a:pt x="354" y="133"/>
                </a:cubicBezTo>
                <a:cubicBezTo>
                  <a:pt x="389" y="280"/>
                  <a:pt x="389" y="280"/>
                  <a:pt x="389" y="280"/>
                </a:cubicBezTo>
                <a:cubicBezTo>
                  <a:pt x="412" y="381"/>
                  <a:pt x="389" y="535"/>
                  <a:pt x="336" y="624"/>
                </a:cubicBezTo>
                <a:cubicBezTo>
                  <a:pt x="0" y="1189"/>
                  <a:pt x="0" y="1189"/>
                  <a:pt x="0" y="1189"/>
                </a:cubicBezTo>
                <a:cubicBezTo>
                  <a:pt x="72" y="1252"/>
                  <a:pt x="72" y="1252"/>
                  <a:pt x="72" y="1252"/>
                </a:cubicBezTo>
                <a:cubicBezTo>
                  <a:pt x="394" y="710"/>
                  <a:pt x="394" y="710"/>
                  <a:pt x="394" y="710"/>
                </a:cubicBezTo>
                <a:cubicBezTo>
                  <a:pt x="447" y="621"/>
                  <a:pt x="566" y="586"/>
                  <a:pt x="658" y="63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" name="Freeform 20"/>
          <p:cNvSpPr/>
          <p:nvPr userDrawn="1"/>
        </p:nvSpPr>
        <p:spPr bwMode="gray">
          <a:xfrm>
            <a:off x="1" y="3279574"/>
            <a:ext cx="1336675" cy="2237553"/>
          </a:xfrm>
          <a:custGeom>
            <a:avLst/>
            <a:gdLst>
              <a:gd name="connsiteX0" fmla="*/ 1232317 w 1336675"/>
              <a:gd name="connsiteY0" fmla="*/ 0 h 2237553"/>
              <a:gd name="connsiteX1" fmla="*/ 1336675 w 1336675"/>
              <a:gd name="connsiteY1" fmla="*/ 38681 h 2237553"/>
              <a:gd name="connsiteX2" fmla="*/ 1103335 w 1336675"/>
              <a:gd name="connsiteY2" fmla="*/ 230918 h 2237553"/>
              <a:gd name="connsiteX3" fmla="*/ 946211 w 1336675"/>
              <a:gd name="connsiteY3" fmla="*/ 562644 h 2237553"/>
              <a:gd name="connsiteX4" fmla="*/ 946211 w 1336675"/>
              <a:gd name="connsiteY4" fmla="*/ 1716064 h 2237553"/>
              <a:gd name="connsiteX5" fmla="*/ 753911 w 1336675"/>
              <a:gd name="connsiteY5" fmla="*/ 1984492 h 2237553"/>
              <a:gd name="connsiteX6" fmla="*/ 110565 w 1336675"/>
              <a:gd name="connsiteY6" fmla="*/ 2200440 h 2237553"/>
              <a:gd name="connsiteX7" fmla="*/ 0 w 1336675"/>
              <a:gd name="connsiteY7" fmla="*/ 2237553 h 2237553"/>
              <a:gd name="connsiteX8" fmla="*/ 0 w 1336675"/>
              <a:gd name="connsiteY8" fmla="*/ 26059 h 2237553"/>
              <a:gd name="connsiteX9" fmla="*/ 83039 w 1336675"/>
              <a:gd name="connsiteY9" fmla="*/ 44506 h 2237553"/>
              <a:gd name="connsiteX10" fmla="*/ 748048 w 1336675"/>
              <a:gd name="connsiteY10" fmla="*/ 192236 h 2237553"/>
              <a:gd name="connsiteX11" fmla="*/ 1103335 w 1336675"/>
              <a:gd name="connsiteY11" fmla="*/ 106668 h 223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36675" h="2237553">
                <a:moveTo>
                  <a:pt x="1232317" y="0"/>
                </a:moveTo>
                <a:cubicBezTo>
                  <a:pt x="1232317" y="0"/>
                  <a:pt x="1232317" y="0"/>
                  <a:pt x="1336675" y="38681"/>
                </a:cubicBezTo>
                <a:cubicBezTo>
                  <a:pt x="1336675" y="38681"/>
                  <a:pt x="1336675" y="38681"/>
                  <a:pt x="1103335" y="230918"/>
                </a:cubicBezTo>
                <a:cubicBezTo>
                  <a:pt x="1017738" y="301249"/>
                  <a:pt x="946211" y="451287"/>
                  <a:pt x="946211" y="562644"/>
                </a:cubicBezTo>
                <a:cubicBezTo>
                  <a:pt x="946211" y="562644"/>
                  <a:pt x="946211" y="562644"/>
                  <a:pt x="946211" y="1716064"/>
                </a:cubicBezTo>
                <a:cubicBezTo>
                  <a:pt x="946211" y="1828593"/>
                  <a:pt x="859442" y="1948155"/>
                  <a:pt x="753911" y="1984492"/>
                </a:cubicBezTo>
                <a:cubicBezTo>
                  <a:pt x="753911" y="1984492"/>
                  <a:pt x="753911" y="1984492"/>
                  <a:pt x="110565" y="2200440"/>
                </a:cubicBezTo>
                <a:lnTo>
                  <a:pt x="0" y="2237553"/>
                </a:lnTo>
                <a:lnTo>
                  <a:pt x="0" y="26059"/>
                </a:lnTo>
                <a:lnTo>
                  <a:pt x="83039" y="44506"/>
                </a:lnTo>
                <a:cubicBezTo>
                  <a:pt x="244798" y="80440"/>
                  <a:pt x="460477" y="128353"/>
                  <a:pt x="748048" y="192236"/>
                </a:cubicBezTo>
                <a:cubicBezTo>
                  <a:pt x="857096" y="216852"/>
                  <a:pt x="1016565" y="178170"/>
                  <a:pt x="1103335" y="106668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9375" y="4509000"/>
            <a:ext cx="640873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  <a:br>
              <a:rPr lang="en-US" noProof="0" dirty="0" smtClean="0"/>
            </a:br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60000" y="3357000"/>
            <a:ext cx="6408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60000" y="2204864"/>
            <a:ext cx="6408113" cy="1152136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sp>
        <p:nvSpPr>
          <p:cNvPr id="14" name="Freihandform 13"/>
          <p:cNvSpPr/>
          <p:nvPr userDrawn="1"/>
        </p:nvSpPr>
        <p:spPr bwMode="gray">
          <a:xfrm>
            <a:off x="0" y="2"/>
            <a:ext cx="1614244" cy="883735"/>
          </a:xfrm>
          <a:custGeom>
            <a:avLst/>
            <a:gdLst>
              <a:gd name="connsiteX0" fmla="*/ 0 w 1614244"/>
              <a:gd name="connsiteY0" fmla="*/ 0 h 883735"/>
              <a:gd name="connsiteX1" fmla="*/ 827794 w 1614244"/>
              <a:gd name="connsiteY1" fmla="*/ 0 h 883735"/>
              <a:gd name="connsiteX2" fmla="*/ 1088662 w 1614244"/>
              <a:gd name="connsiteY2" fmla="*/ 95411 h 883735"/>
              <a:gd name="connsiteX3" fmla="*/ 1413677 w 1614244"/>
              <a:gd name="connsiteY3" fmla="*/ 214283 h 883735"/>
              <a:gd name="connsiteX4" fmla="*/ 1614145 w 1614244"/>
              <a:gd name="connsiteY4" fmla="*/ 509733 h 883735"/>
              <a:gd name="connsiteX5" fmla="*/ 1604767 w 1614244"/>
              <a:gd name="connsiteY5" fmla="*/ 883735 h 883735"/>
              <a:gd name="connsiteX6" fmla="*/ 1532082 w 1614244"/>
              <a:gd name="connsiteY6" fmla="*/ 867321 h 883735"/>
              <a:gd name="connsiteX7" fmla="*/ 54021 w 1614244"/>
              <a:gd name="connsiteY7" fmla="*/ 721231 h 883735"/>
              <a:gd name="connsiteX8" fmla="*/ 0 w 1614244"/>
              <a:gd name="connsiteY8" fmla="*/ 715892 h 883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14244" h="883735">
                <a:moveTo>
                  <a:pt x="0" y="0"/>
                </a:moveTo>
                <a:lnTo>
                  <a:pt x="827794" y="0"/>
                </a:lnTo>
                <a:lnTo>
                  <a:pt x="1088662" y="95411"/>
                </a:lnTo>
                <a:cubicBezTo>
                  <a:pt x="1190088" y="132507"/>
                  <a:pt x="1298277" y="172076"/>
                  <a:pt x="1413677" y="214283"/>
                </a:cubicBezTo>
                <a:cubicBezTo>
                  <a:pt x="1527393" y="256490"/>
                  <a:pt x="1617662" y="388974"/>
                  <a:pt x="1614145" y="509733"/>
                </a:cubicBezTo>
                <a:cubicBezTo>
                  <a:pt x="1614145" y="509733"/>
                  <a:pt x="1614145" y="509733"/>
                  <a:pt x="1604767" y="883735"/>
                </a:cubicBezTo>
                <a:cubicBezTo>
                  <a:pt x="1580148" y="875528"/>
                  <a:pt x="1555529" y="869666"/>
                  <a:pt x="1532082" y="867321"/>
                </a:cubicBezTo>
                <a:cubicBezTo>
                  <a:pt x="1532082" y="867321"/>
                  <a:pt x="1532082" y="867321"/>
                  <a:pt x="54021" y="721231"/>
                </a:cubicBezTo>
                <a:lnTo>
                  <a:pt x="0" y="715892"/>
                </a:lnTo>
                <a:close/>
              </a:path>
            </a:pathLst>
          </a:cu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 smtClean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71744" y="5271235"/>
            <a:ext cx="2520000" cy="1254109"/>
          </a:xfrm>
          <a:prstGeom prst="rect">
            <a:avLst/>
          </a:prstGeom>
        </p:spPr>
      </p:pic>
      <p:grpSp>
        <p:nvGrpSpPr>
          <p:cNvPr id="13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5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ihandform 24"/>
          <p:cNvSpPr/>
          <p:nvPr userDrawn="1"/>
        </p:nvSpPr>
        <p:spPr bwMode="gray">
          <a:xfrm>
            <a:off x="2080006" y="1596994"/>
            <a:ext cx="128588" cy="577024"/>
          </a:xfrm>
          <a:custGeom>
            <a:avLst/>
            <a:gdLst>
              <a:gd name="connsiteX0" fmla="*/ 0 w 128588"/>
              <a:gd name="connsiteY0" fmla="*/ 0 h 577024"/>
              <a:gd name="connsiteX1" fmla="*/ 111894 w 128588"/>
              <a:gd name="connsiteY1" fmla="*/ 344776 h 577024"/>
              <a:gd name="connsiteX2" fmla="*/ 124387 w 128588"/>
              <a:gd name="connsiteY2" fmla="*/ 394867 h 577024"/>
              <a:gd name="connsiteX3" fmla="*/ 113945 w 128588"/>
              <a:gd name="connsiteY3" fmla="*/ 540518 h 577024"/>
              <a:gd name="connsiteX4" fmla="*/ 94620 w 128588"/>
              <a:gd name="connsiteY4" fmla="*/ 577024 h 577024"/>
              <a:gd name="connsiteX5" fmla="*/ 69548 w 128588"/>
              <a:gd name="connsiteY5" fmla="*/ 424122 h 577024"/>
              <a:gd name="connsiteX6" fmla="*/ 36876 w 128588"/>
              <a:gd name="connsiteY6" fmla="*/ 224880 h 577024"/>
              <a:gd name="connsiteX7" fmla="*/ 0 w 128588"/>
              <a:gd name="connsiteY7" fmla="*/ 0 h 57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588" h="577024">
                <a:moveTo>
                  <a:pt x="0" y="0"/>
                </a:moveTo>
                <a:lnTo>
                  <a:pt x="111894" y="344776"/>
                </a:lnTo>
                <a:lnTo>
                  <a:pt x="124387" y="394867"/>
                </a:lnTo>
                <a:cubicBezTo>
                  <a:pt x="132657" y="445250"/>
                  <a:pt x="128481" y="495806"/>
                  <a:pt x="113945" y="540518"/>
                </a:cubicBezTo>
                <a:lnTo>
                  <a:pt x="94620" y="577024"/>
                </a:lnTo>
                <a:lnTo>
                  <a:pt x="69548" y="424122"/>
                </a:lnTo>
                <a:cubicBezTo>
                  <a:pt x="59400" y="362234"/>
                  <a:pt x="48526" y="295925"/>
                  <a:pt x="36876" y="224880"/>
                </a:cubicBezTo>
                <a:lnTo>
                  <a:pt x="0" y="0"/>
                </a:lnTo>
                <a:close/>
              </a:path>
            </a:pathLst>
          </a:custGeom>
          <a:solidFill>
            <a:srgbClr val="5232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24" name="Freihandform 23"/>
          <p:cNvSpPr/>
          <p:nvPr userDrawn="1"/>
        </p:nvSpPr>
        <p:spPr bwMode="gray">
          <a:xfrm>
            <a:off x="1" y="1"/>
            <a:ext cx="2246612" cy="2662617"/>
          </a:xfrm>
          <a:custGeom>
            <a:avLst/>
            <a:gdLst>
              <a:gd name="connsiteX0" fmla="*/ 500398 w 2246612"/>
              <a:gd name="connsiteY0" fmla="*/ 0 h 2662617"/>
              <a:gd name="connsiteX1" fmla="*/ 954996 w 2246612"/>
              <a:gd name="connsiteY1" fmla="*/ 0 h 2662617"/>
              <a:gd name="connsiteX2" fmla="*/ 966522 w 2246612"/>
              <a:gd name="connsiteY2" fmla="*/ 7772 h 2662617"/>
              <a:gd name="connsiteX3" fmla="*/ 1413376 w 2246612"/>
              <a:gd name="connsiteY3" fmla="*/ 253371 h 2662617"/>
              <a:gd name="connsiteX4" fmla="*/ 1776605 w 2246612"/>
              <a:gd name="connsiteY4" fmla="*/ 233048 h 2662617"/>
              <a:gd name="connsiteX5" fmla="*/ 2055400 w 2246612"/>
              <a:gd name="connsiteY5" fmla="*/ 0 h 2662617"/>
              <a:gd name="connsiteX6" fmla="*/ 2246612 w 2246612"/>
              <a:gd name="connsiteY6" fmla="*/ 0 h 2662617"/>
              <a:gd name="connsiteX7" fmla="*/ 1871641 w 2246612"/>
              <a:gd name="connsiteY7" fmla="*/ 317812 h 2662617"/>
              <a:gd name="connsiteX8" fmla="*/ 1785210 w 2246612"/>
              <a:gd name="connsiteY8" fmla="*/ 688648 h 2662617"/>
              <a:gd name="connsiteX9" fmla="*/ 2191896 w 2246612"/>
              <a:gd name="connsiteY9" fmla="*/ 1941757 h 2662617"/>
              <a:gd name="connsiteX10" fmla="*/ 2191899 w 2246612"/>
              <a:gd name="connsiteY10" fmla="*/ 1941769 h 2662617"/>
              <a:gd name="connsiteX11" fmla="*/ 2080005 w 2246612"/>
              <a:gd name="connsiteY11" fmla="*/ 1596993 h 2662617"/>
              <a:gd name="connsiteX12" fmla="*/ 2116881 w 2246612"/>
              <a:gd name="connsiteY12" fmla="*/ 1821873 h 2662617"/>
              <a:gd name="connsiteX13" fmla="*/ 2149553 w 2246612"/>
              <a:gd name="connsiteY13" fmla="*/ 2021115 h 2662617"/>
              <a:gd name="connsiteX14" fmla="*/ 2174625 w 2246612"/>
              <a:gd name="connsiteY14" fmla="*/ 2174017 h 2662617"/>
              <a:gd name="connsiteX15" fmla="*/ 2151682 w 2246612"/>
              <a:gd name="connsiteY15" fmla="*/ 2217358 h 2662617"/>
              <a:gd name="connsiteX16" fmla="*/ 2085496 w 2246612"/>
              <a:gd name="connsiteY16" fmla="*/ 2270920 h 2662617"/>
              <a:gd name="connsiteX17" fmla="*/ 1306147 w 2246612"/>
              <a:gd name="connsiteY17" fmla="*/ 2644371 h 2662617"/>
              <a:gd name="connsiteX18" fmla="*/ 982487 w 2246612"/>
              <a:gd name="connsiteY18" fmla="*/ 2525680 h 2662617"/>
              <a:gd name="connsiteX19" fmla="*/ 0 w 2246612"/>
              <a:gd name="connsiteY19" fmla="*/ 1029945 h 2662617"/>
              <a:gd name="connsiteX20" fmla="*/ 0 w 2246612"/>
              <a:gd name="connsiteY20" fmla="*/ 407538 h 2662617"/>
              <a:gd name="connsiteX21" fmla="*/ 490569 w 2246612"/>
              <a:gd name="connsiteY21" fmla="*/ 8907 h 2662617"/>
              <a:gd name="connsiteX22" fmla="*/ 500398 w 2246612"/>
              <a:gd name="connsiteY22" fmla="*/ 0 h 2662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246612" h="2662617">
                <a:moveTo>
                  <a:pt x="500398" y="0"/>
                </a:moveTo>
                <a:lnTo>
                  <a:pt x="954996" y="0"/>
                </a:lnTo>
                <a:lnTo>
                  <a:pt x="966522" y="7772"/>
                </a:lnTo>
                <a:lnTo>
                  <a:pt x="1413376" y="253371"/>
                </a:lnTo>
                <a:cubicBezTo>
                  <a:pt x="1524743" y="311277"/>
                  <a:pt x="1688138" y="303257"/>
                  <a:pt x="1776605" y="233048"/>
                </a:cubicBezTo>
                <a:lnTo>
                  <a:pt x="2055400" y="0"/>
                </a:lnTo>
                <a:lnTo>
                  <a:pt x="2246612" y="0"/>
                </a:lnTo>
                <a:lnTo>
                  <a:pt x="1871641" y="317812"/>
                </a:lnTo>
                <a:cubicBezTo>
                  <a:pt x="1779936" y="389573"/>
                  <a:pt x="1746443" y="557888"/>
                  <a:pt x="1785210" y="688648"/>
                </a:cubicBezTo>
                <a:lnTo>
                  <a:pt x="2191896" y="1941757"/>
                </a:lnTo>
                <a:lnTo>
                  <a:pt x="2191899" y="1941769"/>
                </a:lnTo>
                <a:lnTo>
                  <a:pt x="2080005" y="1596993"/>
                </a:lnTo>
                <a:lnTo>
                  <a:pt x="2116881" y="1821873"/>
                </a:lnTo>
                <a:cubicBezTo>
                  <a:pt x="2128531" y="1892918"/>
                  <a:pt x="2139405" y="1959227"/>
                  <a:pt x="2149553" y="2021115"/>
                </a:cubicBezTo>
                <a:lnTo>
                  <a:pt x="2174625" y="2174017"/>
                </a:lnTo>
                <a:lnTo>
                  <a:pt x="2151682" y="2217358"/>
                </a:lnTo>
                <a:cubicBezTo>
                  <a:pt x="2133401" y="2240187"/>
                  <a:pt x="2111133" y="2258636"/>
                  <a:pt x="2085496" y="2270920"/>
                </a:cubicBezTo>
                <a:lnTo>
                  <a:pt x="1306147" y="2644371"/>
                </a:lnTo>
                <a:cubicBezTo>
                  <a:pt x="1203601" y="2693509"/>
                  <a:pt x="1055796" y="2639888"/>
                  <a:pt x="982487" y="2525680"/>
                </a:cubicBezTo>
                <a:lnTo>
                  <a:pt x="0" y="1029945"/>
                </a:lnTo>
                <a:lnTo>
                  <a:pt x="0" y="407538"/>
                </a:lnTo>
                <a:lnTo>
                  <a:pt x="490569" y="8907"/>
                </a:lnTo>
                <a:lnTo>
                  <a:pt x="500398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23" name="Freihandform 22"/>
          <p:cNvSpPr/>
          <p:nvPr userDrawn="1"/>
        </p:nvSpPr>
        <p:spPr bwMode="gray">
          <a:xfrm>
            <a:off x="2653779" y="1"/>
            <a:ext cx="3506591" cy="1390583"/>
          </a:xfrm>
          <a:custGeom>
            <a:avLst/>
            <a:gdLst>
              <a:gd name="connsiteX0" fmla="*/ 0 w 3506591"/>
              <a:gd name="connsiteY0" fmla="*/ 0 h 1390583"/>
              <a:gd name="connsiteX1" fmla="*/ 3390444 w 3506591"/>
              <a:gd name="connsiteY1" fmla="*/ 0 h 1390583"/>
              <a:gd name="connsiteX2" fmla="*/ 3460045 w 3506591"/>
              <a:gd name="connsiteY2" fmla="*/ 104891 h 1390583"/>
              <a:gd name="connsiteX3" fmla="*/ 3413013 w 3506591"/>
              <a:gd name="connsiteY3" fmla="*/ 405605 h 1390583"/>
              <a:gd name="connsiteX4" fmla="*/ 1397716 w 3506591"/>
              <a:gd name="connsiteY4" fmla="*/ 1371303 h 1390583"/>
              <a:gd name="connsiteX5" fmla="*/ 1050940 w 3506591"/>
              <a:gd name="connsiteY5" fmla="*/ 1268080 h 1390583"/>
              <a:gd name="connsiteX6" fmla="*/ 0 w 3506591"/>
              <a:gd name="connsiteY6" fmla="*/ 0 h 139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06591" h="1390583">
                <a:moveTo>
                  <a:pt x="0" y="0"/>
                </a:moveTo>
                <a:lnTo>
                  <a:pt x="3390444" y="0"/>
                </a:lnTo>
                <a:lnTo>
                  <a:pt x="3460045" y="104891"/>
                </a:lnTo>
                <a:cubicBezTo>
                  <a:pt x="3537733" y="219929"/>
                  <a:pt x="3515559" y="356467"/>
                  <a:pt x="3413013" y="405605"/>
                </a:cubicBezTo>
                <a:lnTo>
                  <a:pt x="1397716" y="1371303"/>
                </a:lnTo>
                <a:cubicBezTo>
                  <a:pt x="1296249" y="1419924"/>
                  <a:pt x="1139871" y="1373339"/>
                  <a:pt x="1050940" y="12680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21" name="Freihandform 20"/>
          <p:cNvSpPr/>
          <p:nvPr userDrawn="1"/>
        </p:nvSpPr>
        <p:spPr bwMode="gray">
          <a:xfrm>
            <a:off x="1" y="2978510"/>
            <a:ext cx="1254096" cy="3003012"/>
          </a:xfrm>
          <a:custGeom>
            <a:avLst/>
            <a:gdLst>
              <a:gd name="connsiteX0" fmla="*/ 0 w 1254096"/>
              <a:gd name="connsiteY0" fmla="*/ 0 h 3003012"/>
              <a:gd name="connsiteX1" fmla="*/ 983737 w 1254096"/>
              <a:gd name="connsiteY1" fmla="*/ 707595 h 3003012"/>
              <a:gd name="connsiteX2" fmla="*/ 1196849 w 1254096"/>
              <a:gd name="connsiteY2" fmla="*/ 1088625 h 3003012"/>
              <a:gd name="connsiteX3" fmla="*/ 1253012 w 1254096"/>
              <a:gd name="connsiteY3" fmla="*/ 1729339 h 3003012"/>
              <a:gd name="connsiteX4" fmla="*/ 1087196 w 1254096"/>
              <a:gd name="connsiteY4" fmla="*/ 2059155 h 3003012"/>
              <a:gd name="connsiteX5" fmla="*/ 213936 w 1254096"/>
              <a:gd name="connsiteY5" fmla="*/ 2477607 h 3003012"/>
              <a:gd name="connsiteX6" fmla="*/ 13209 w 1254096"/>
              <a:gd name="connsiteY6" fmla="*/ 2806583 h 3003012"/>
              <a:gd name="connsiteX7" fmla="*/ 0 w 1254096"/>
              <a:gd name="connsiteY7" fmla="*/ 3003012 h 3003012"/>
              <a:gd name="connsiteX8" fmla="*/ 0 w 1254096"/>
              <a:gd name="connsiteY8" fmla="*/ 0 h 300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4096" h="3003012">
                <a:moveTo>
                  <a:pt x="0" y="0"/>
                </a:moveTo>
                <a:lnTo>
                  <a:pt x="983737" y="707595"/>
                </a:lnTo>
                <a:cubicBezTo>
                  <a:pt x="1092175" y="781545"/>
                  <a:pt x="1186903" y="954302"/>
                  <a:pt x="1196849" y="1088625"/>
                </a:cubicBezTo>
                <a:lnTo>
                  <a:pt x="1253012" y="1729339"/>
                </a:lnTo>
                <a:cubicBezTo>
                  <a:pt x="1264037" y="1863145"/>
                  <a:pt x="1189742" y="2010016"/>
                  <a:pt x="1087196" y="2059155"/>
                </a:cubicBezTo>
                <a:lnTo>
                  <a:pt x="213936" y="2477607"/>
                </a:lnTo>
                <a:cubicBezTo>
                  <a:pt x="111391" y="2526745"/>
                  <a:pt x="19192" y="2677804"/>
                  <a:pt x="13209" y="2806583"/>
                </a:cubicBezTo>
                <a:lnTo>
                  <a:pt x="0" y="30030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4" name="Freeform 33"/>
          <p:cNvSpPr>
            <a:spLocks/>
          </p:cNvSpPr>
          <p:nvPr userDrawn="1"/>
        </p:nvSpPr>
        <p:spPr bwMode="gray">
          <a:xfrm>
            <a:off x="0" y="2978510"/>
            <a:ext cx="1253258" cy="3003012"/>
          </a:xfrm>
          <a:custGeom>
            <a:avLst/>
            <a:gdLst>
              <a:gd name="connsiteX0" fmla="*/ 0 w 1253258"/>
              <a:gd name="connsiteY0" fmla="*/ 0 h 3003012"/>
              <a:gd name="connsiteX1" fmla="*/ 644699 w 1253258"/>
              <a:gd name="connsiteY1" fmla="*/ 463727 h 3003012"/>
              <a:gd name="connsiteX2" fmla="*/ 625018 w 1253258"/>
              <a:gd name="connsiteY2" fmla="*/ 474245 h 3003012"/>
              <a:gd name="connsiteX3" fmla="*/ 465974 w 1253258"/>
              <a:gd name="connsiteY3" fmla="*/ 627800 h 3003012"/>
              <a:gd name="connsiteX4" fmla="*/ 267051 w 1253258"/>
              <a:gd name="connsiteY4" fmla="*/ 928336 h 3003012"/>
              <a:gd name="connsiteX5" fmla="*/ 345869 w 1253258"/>
              <a:gd name="connsiteY5" fmla="*/ 1247655 h 3003012"/>
              <a:gd name="connsiteX6" fmla="*/ 1238476 w 1253258"/>
              <a:gd name="connsiteY6" fmla="*/ 1756027 h 3003012"/>
              <a:gd name="connsiteX7" fmla="*/ 1253183 w 1253258"/>
              <a:gd name="connsiteY7" fmla="*/ 1764403 h 3003012"/>
              <a:gd name="connsiteX8" fmla="*/ 1253258 w 1253258"/>
              <a:gd name="connsiteY8" fmla="*/ 1779912 h 3003012"/>
              <a:gd name="connsiteX9" fmla="*/ 1087196 w 1253258"/>
              <a:gd name="connsiteY9" fmla="*/ 2059155 h 3003012"/>
              <a:gd name="connsiteX10" fmla="*/ 213936 w 1253258"/>
              <a:gd name="connsiteY10" fmla="*/ 2477607 h 3003012"/>
              <a:gd name="connsiteX11" fmla="*/ 13209 w 1253258"/>
              <a:gd name="connsiteY11" fmla="*/ 2806583 h 3003012"/>
              <a:gd name="connsiteX12" fmla="*/ 0 w 1253258"/>
              <a:gd name="connsiteY12" fmla="*/ 3003012 h 3003012"/>
              <a:gd name="connsiteX13" fmla="*/ 0 w 1253258"/>
              <a:gd name="connsiteY13" fmla="*/ 1103514 h 3003012"/>
              <a:gd name="connsiteX14" fmla="*/ 30463 w 1253258"/>
              <a:gd name="connsiteY14" fmla="*/ 1057811 h 3003012"/>
              <a:gd name="connsiteX15" fmla="*/ 327103 w 1253258"/>
              <a:gd name="connsiteY15" fmla="*/ 612773 h 3003012"/>
              <a:gd name="connsiteX16" fmla="*/ 255791 w 1253258"/>
              <a:gd name="connsiteY16" fmla="*/ 289697 h 3003012"/>
              <a:gd name="connsiteX17" fmla="*/ 62447 w 1253258"/>
              <a:gd name="connsiteY17" fmla="*/ 165880 h 3003012"/>
              <a:gd name="connsiteX18" fmla="*/ 0 w 1253258"/>
              <a:gd name="connsiteY18" fmla="*/ 125890 h 3003012"/>
              <a:gd name="connsiteX19" fmla="*/ 0 w 1253258"/>
              <a:gd name="connsiteY19" fmla="*/ 0 h 300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53258" h="3003012">
                <a:moveTo>
                  <a:pt x="0" y="0"/>
                </a:moveTo>
                <a:lnTo>
                  <a:pt x="644699" y="463727"/>
                </a:lnTo>
                <a:lnTo>
                  <a:pt x="625018" y="474245"/>
                </a:lnTo>
                <a:cubicBezTo>
                  <a:pt x="559805" y="516977"/>
                  <a:pt x="501629" y="571450"/>
                  <a:pt x="465974" y="627800"/>
                </a:cubicBezTo>
                <a:cubicBezTo>
                  <a:pt x="465974" y="627800"/>
                  <a:pt x="465974" y="627800"/>
                  <a:pt x="267051" y="928336"/>
                </a:cubicBezTo>
                <a:cubicBezTo>
                  <a:pt x="195739" y="1037280"/>
                  <a:pt x="233272" y="1183791"/>
                  <a:pt x="345869" y="1247655"/>
                </a:cubicBezTo>
                <a:cubicBezTo>
                  <a:pt x="345869" y="1247655"/>
                  <a:pt x="345869" y="1247655"/>
                  <a:pt x="1238476" y="1756027"/>
                </a:cubicBezTo>
                <a:lnTo>
                  <a:pt x="1253183" y="1764403"/>
                </a:lnTo>
                <a:lnTo>
                  <a:pt x="1253258" y="1779912"/>
                </a:lnTo>
                <a:cubicBezTo>
                  <a:pt x="1245022" y="1898336"/>
                  <a:pt x="1176924" y="2016159"/>
                  <a:pt x="1087196" y="2059155"/>
                </a:cubicBezTo>
                <a:lnTo>
                  <a:pt x="213936" y="2477607"/>
                </a:lnTo>
                <a:cubicBezTo>
                  <a:pt x="111391" y="2526745"/>
                  <a:pt x="19192" y="2677804"/>
                  <a:pt x="13209" y="2806583"/>
                </a:cubicBezTo>
                <a:lnTo>
                  <a:pt x="0" y="3003012"/>
                </a:lnTo>
                <a:lnTo>
                  <a:pt x="0" y="1103514"/>
                </a:lnTo>
                <a:lnTo>
                  <a:pt x="30463" y="1057811"/>
                </a:lnTo>
                <a:cubicBezTo>
                  <a:pt x="123035" y="918929"/>
                  <a:pt x="221777" y="770789"/>
                  <a:pt x="327103" y="612773"/>
                </a:cubicBezTo>
                <a:cubicBezTo>
                  <a:pt x="398415" y="507585"/>
                  <a:pt x="368389" y="357317"/>
                  <a:pt x="255791" y="289697"/>
                </a:cubicBezTo>
                <a:cubicBezTo>
                  <a:pt x="255791" y="289697"/>
                  <a:pt x="255791" y="289697"/>
                  <a:pt x="62447" y="165880"/>
                </a:cubicBezTo>
                <a:lnTo>
                  <a:pt x="0" y="12589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31" name="Freeform 30"/>
          <p:cNvSpPr/>
          <p:nvPr userDrawn="1"/>
        </p:nvSpPr>
        <p:spPr bwMode="gray">
          <a:xfrm>
            <a:off x="3045424" y="1"/>
            <a:ext cx="3114944" cy="1390583"/>
          </a:xfrm>
          <a:custGeom>
            <a:avLst/>
            <a:gdLst>
              <a:gd name="connsiteX0" fmla="*/ 1954302 w 3114944"/>
              <a:gd name="connsiteY0" fmla="*/ 0 h 1390583"/>
              <a:gd name="connsiteX1" fmla="*/ 2998798 w 3114944"/>
              <a:gd name="connsiteY1" fmla="*/ 0 h 1390583"/>
              <a:gd name="connsiteX2" fmla="*/ 3068398 w 3114944"/>
              <a:gd name="connsiteY2" fmla="*/ 104891 h 1390583"/>
              <a:gd name="connsiteX3" fmla="*/ 3021366 w 3114944"/>
              <a:gd name="connsiteY3" fmla="*/ 405605 h 1390583"/>
              <a:gd name="connsiteX4" fmla="*/ 2489182 w 3114944"/>
              <a:gd name="connsiteY4" fmla="*/ 660619 h 1390583"/>
              <a:gd name="connsiteX5" fmla="*/ 2437018 w 3114944"/>
              <a:gd name="connsiteY5" fmla="*/ 627214 h 1390583"/>
              <a:gd name="connsiteX6" fmla="*/ 2175618 w 3114944"/>
              <a:gd name="connsiteY6" fmla="*/ 459813 h 1390583"/>
              <a:gd name="connsiteX7" fmla="*/ 1762760 w 3114944"/>
              <a:gd name="connsiteY7" fmla="*/ 441030 h 1390583"/>
              <a:gd name="connsiteX8" fmla="*/ 1327382 w 3114944"/>
              <a:gd name="connsiteY8" fmla="*/ 673945 h 1390583"/>
              <a:gd name="connsiteX9" fmla="*/ 1079668 w 3114944"/>
              <a:gd name="connsiteY9" fmla="*/ 1019562 h 1390583"/>
              <a:gd name="connsiteX10" fmla="*/ 1026896 w 3114944"/>
              <a:gd name="connsiteY10" fmla="*/ 1341833 h 1390583"/>
              <a:gd name="connsiteX11" fmla="*/ 1023432 w 3114944"/>
              <a:gd name="connsiteY11" fmla="*/ 1362983 h 1390583"/>
              <a:gd name="connsiteX12" fmla="*/ 1006070 w 3114944"/>
              <a:gd name="connsiteY12" fmla="*/ 1371303 h 1390583"/>
              <a:gd name="connsiteX13" fmla="*/ 659294 w 3114944"/>
              <a:gd name="connsiteY13" fmla="*/ 1268080 h 1390583"/>
              <a:gd name="connsiteX14" fmla="*/ 0 w 3114944"/>
              <a:gd name="connsiteY14" fmla="*/ 472566 h 1390583"/>
              <a:gd name="connsiteX15" fmla="*/ 40018 w 3114944"/>
              <a:gd name="connsiteY15" fmla="*/ 482354 h 1390583"/>
              <a:gd name="connsiteX16" fmla="*/ 824446 w 3114944"/>
              <a:gd name="connsiteY16" fmla="*/ 636378 h 1390583"/>
              <a:gd name="connsiteX17" fmla="*/ 1267330 w 3114944"/>
              <a:gd name="connsiteY17" fmla="*/ 572514 h 1390583"/>
              <a:gd name="connsiteX18" fmla="*/ 1725228 w 3114944"/>
              <a:gd name="connsiteY18" fmla="*/ 328329 h 1390583"/>
              <a:gd name="connsiteX19" fmla="*/ 1949470 w 3114944"/>
              <a:gd name="connsiteY19" fmla="*/ 28021 h 1390583"/>
              <a:gd name="connsiteX20" fmla="*/ 1954302 w 3114944"/>
              <a:gd name="connsiteY20" fmla="*/ 0 h 139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114944" h="1390583">
                <a:moveTo>
                  <a:pt x="1954302" y="0"/>
                </a:moveTo>
                <a:lnTo>
                  <a:pt x="2998798" y="0"/>
                </a:lnTo>
                <a:lnTo>
                  <a:pt x="3068398" y="104891"/>
                </a:lnTo>
                <a:cubicBezTo>
                  <a:pt x="3146086" y="219929"/>
                  <a:pt x="3123914" y="356467"/>
                  <a:pt x="3021366" y="405605"/>
                </a:cubicBezTo>
                <a:lnTo>
                  <a:pt x="2489182" y="660619"/>
                </a:lnTo>
                <a:lnTo>
                  <a:pt x="2437018" y="627214"/>
                </a:lnTo>
                <a:cubicBezTo>
                  <a:pt x="2361228" y="578677"/>
                  <a:pt x="2274610" y="523207"/>
                  <a:pt x="2175618" y="459813"/>
                </a:cubicBezTo>
                <a:cubicBezTo>
                  <a:pt x="2063020" y="392193"/>
                  <a:pt x="1879110" y="380923"/>
                  <a:pt x="1762760" y="441030"/>
                </a:cubicBezTo>
                <a:cubicBezTo>
                  <a:pt x="1762760" y="441030"/>
                  <a:pt x="1762760" y="441030"/>
                  <a:pt x="1327382" y="673945"/>
                </a:cubicBezTo>
                <a:cubicBezTo>
                  <a:pt x="1211032" y="737809"/>
                  <a:pt x="1098434" y="891834"/>
                  <a:pt x="1079668" y="1019562"/>
                </a:cubicBezTo>
                <a:cubicBezTo>
                  <a:pt x="1079668" y="1019562"/>
                  <a:pt x="1079668" y="1019562"/>
                  <a:pt x="1026896" y="1341833"/>
                </a:cubicBezTo>
                <a:lnTo>
                  <a:pt x="1023432" y="1362983"/>
                </a:lnTo>
                <a:lnTo>
                  <a:pt x="1006070" y="1371303"/>
                </a:lnTo>
                <a:cubicBezTo>
                  <a:pt x="904602" y="1419924"/>
                  <a:pt x="748226" y="1373339"/>
                  <a:pt x="659294" y="1268080"/>
                </a:cubicBezTo>
                <a:lnTo>
                  <a:pt x="0" y="472566"/>
                </a:lnTo>
                <a:lnTo>
                  <a:pt x="40018" y="482354"/>
                </a:lnTo>
                <a:cubicBezTo>
                  <a:pt x="40018" y="482354"/>
                  <a:pt x="40018" y="482354"/>
                  <a:pt x="824446" y="636378"/>
                </a:cubicBezTo>
                <a:cubicBezTo>
                  <a:pt x="952058" y="662675"/>
                  <a:pt x="1150980" y="632622"/>
                  <a:pt x="1267330" y="572514"/>
                </a:cubicBezTo>
                <a:cubicBezTo>
                  <a:pt x="1267330" y="572514"/>
                  <a:pt x="1267330" y="572514"/>
                  <a:pt x="1725228" y="328329"/>
                </a:cubicBezTo>
                <a:cubicBezTo>
                  <a:pt x="1827034" y="272448"/>
                  <a:pt x="1920222" y="144662"/>
                  <a:pt x="1949470" y="28021"/>
                </a:cubicBezTo>
                <a:lnTo>
                  <a:pt x="195430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 bwMode="gray">
          <a:xfrm>
            <a:off x="0" y="137804"/>
            <a:ext cx="2047830" cy="1873007"/>
          </a:xfrm>
          <a:custGeom>
            <a:avLst/>
            <a:gdLst>
              <a:gd name="connsiteX0" fmla="*/ 331946 w 2047830"/>
              <a:gd name="connsiteY0" fmla="*/ 0 h 1873007"/>
              <a:gd name="connsiteX1" fmla="*/ 360420 w 2047830"/>
              <a:gd name="connsiteY1" fmla="*/ 47686 h 1873007"/>
              <a:gd name="connsiteX2" fmla="*/ 717140 w 2047830"/>
              <a:gd name="connsiteY2" fmla="*/ 645087 h 1873007"/>
              <a:gd name="connsiteX3" fmla="*/ 1073698 w 2047830"/>
              <a:gd name="connsiteY3" fmla="*/ 896785 h 1873007"/>
              <a:gd name="connsiteX4" fmla="*/ 1861882 w 2047830"/>
              <a:gd name="connsiteY4" fmla="*/ 1062080 h 1873007"/>
              <a:gd name="connsiteX5" fmla="*/ 1912830 w 2047830"/>
              <a:gd name="connsiteY5" fmla="*/ 1067987 h 1873007"/>
              <a:gd name="connsiteX6" fmla="*/ 1952650 w 2047830"/>
              <a:gd name="connsiteY6" fmla="*/ 1066776 h 1873007"/>
              <a:gd name="connsiteX7" fmla="*/ 2047830 w 2047830"/>
              <a:gd name="connsiteY7" fmla="*/ 1360050 h 1873007"/>
              <a:gd name="connsiteX8" fmla="*/ 1986678 w 2047830"/>
              <a:gd name="connsiteY8" fmla="*/ 1274333 h 1873007"/>
              <a:gd name="connsiteX9" fmla="*/ 1809336 w 2047830"/>
              <a:gd name="connsiteY9" fmla="*/ 1171024 h 1873007"/>
              <a:gd name="connsiteX10" fmla="*/ 1148764 w 2047830"/>
              <a:gd name="connsiteY10" fmla="*/ 1028270 h 1873007"/>
              <a:gd name="connsiteX11" fmla="*/ 844750 w 2047830"/>
              <a:gd name="connsiteY11" fmla="*/ 1212348 h 1873007"/>
              <a:gd name="connsiteX12" fmla="*/ 649990 w 2047830"/>
              <a:gd name="connsiteY12" fmla="*/ 1854215 h 1873007"/>
              <a:gd name="connsiteX13" fmla="*/ 644290 w 2047830"/>
              <a:gd name="connsiteY13" fmla="*/ 1873007 h 1873007"/>
              <a:gd name="connsiteX14" fmla="*/ 0 w 2047830"/>
              <a:gd name="connsiteY14" fmla="*/ 892142 h 1873007"/>
              <a:gd name="connsiteX15" fmla="*/ 0 w 2047830"/>
              <a:gd name="connsiteY15" fmla="*/ 269735 h 1873007"/>
              <a:gd name="connsiteX16" fmla="*/ 331946 w 2047830"/>
              <a:gd name="connsiteY16" fmla="*/ 0 h 1873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047830" h="1873007">
                <a:moveTo>
                  <a:pt x="331946" y="0"/>
                </a:moveTo>
                <a:lnTo>
                  <a:pt x="360420" y="47686"/>
                </a:lnTo>
                <a:cubicBezTo>
                  <a:pt x="455658" y="207182"/>
                  <a:pt x="572874" y="403484"/>
                  <a:pt x="717140" y="645087"/>
                </a:cubicBezTo>
                <a:cubicBezTo>
                  <a:pt x="784698" y="754031"/>
                  <a:pt x="946088" y="870488"/>
                  <a:pt x="1073698" y="896785"/>
                </a:cubicBezTo>
                <a:cubicBezTo>
                  <a:pt x="1073698" y="896785"/>
                  <a:pt x="1073698" y="896785"/>
                  <a:pt x="1861882" y="1062080"/>
                </a:cubicBezTo>
                <a:cubicBezTo>
                  <a:pt x="1878302" y="1065367"/>
                  <a:pt x="1895368" y="1067304"/>
                  <a:pt x="1912830" y="1067987"/>
                </a:cubicBezTo>
                <a:lnTo>
                  <a:pt x="1952650" y="1066776"/>
                </a:lnTo>
                <a:lnTo>
                  <a:pt x="2047830" y="1360050"/>
                </a:lnTo>
                <a:lnTo>
                  <a:pt x="1986678" y="1274333"/>
                </a:lnTo>
                <a:cubicBezTo>
                  <a:pt x="1937886" y="1222679"/>
                  <a:pt x="1875018" y="1184173"/>
                  <a:pt x="1809336" y="1171024"/>
                </a:cubicBezTo>
                <a:cubicBezTo>
                  <a:pt x="1809336" y="1171024"/>
                  <a:pt x="1809336" y="1171024"/>
                  <a:pt x="1148764" y="1028270"/>
                </a:cubicBezTo>
                <a:cubicBezTo>
                  <a:pt x="1017400" y="1001973"/>
                  <a:pt x="882282" y="1084620"/>
                  <a:pt x="844750" y="1212348"/>
                </a:cubicBezTo>
                <a:cubicBezTo>
                  <a:pt x="844750" y="1212348"/>
                  <a:pt x="844750" y="1212348"/>
                  <a:pt x="649990" y="1854215"/>
                </a:cubicBezTo>
                <a:lnTo>
                  <a:pt x="644290" y="1873007"/>
                </a:lnTo>
                <a:lnTo>
                  <a:pt x="0" y="892142"/>
                </a:lnTo>
                <a:lnTo>
                  <a:pt x="0" y="269735"/>
                </a:lnTo>
                <a:lnTo>
                  <a:pt x="331946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28" name="Picture Placeholder 19"/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1416000" y="1501931"/>
            <a:ext cx="4385900" cy="3924309"/>
          </a:xfrm>
          <a:custGeom>
            <a:avLst/>
            <a:gdLst>
              <a:gd name="connsiteX0" fmla="*/ 2640160 w 4025900"/>
              <a:gd name="connsiteY0" fmla="*/ 1421 h 3602197"/>
              <a:gd name="connsiteX1" fmla="*/ 3141707 w 4025900"/>
              <a:gd name="connsiteY1" fmla="*/ 189633 h 3602197"/>
              <a:gd name="connsiteX2" fmla="*/ 3728661 w 4025900"/>
              <a:gd name="connsiteY2" fmla="*/ 513040 h 3602197"/>
              <a:gd name="connsiteX3" fmla="*/ 4025900 w 4025900"/>
              <a:gd name="connsiteY3" fmla="*/ 1016954 h 3602197"/>
              <a:gd name="connsiteX4" fmla="*/ 4025900 w 4025900"/>
              <a:gd name="connsiteY4" fmla="*/ 3295850 h 3602197"/>
              <a:gd name="connsiteX5" fmla="*/ 3687273 w 4025900"/>
              <a:gd name="connsiteY5" fmla="*/ 3600454 h 3602197"/>
              <a:gd name="connsiteX6" fmla="*/ 338627 w 4025900"/>
              <a:gd name="connsiteY6" fmla="*/ 3235681 h 3602197"/>
              <a:gd name="connsiteX7" fmla="*/ 0 w 4025900"/>
              <a:gd name="connsiteY7" fmla="*/ 2855865 h 3602197"/>
              <a:gd name="connsiteX8" fmla="*/ 0 w 4025900"/>
              <a:gd name="connsiteY8" fmla="*/ 1550953 h 3602197"/>
              <a:gd name="connsiteX9" fmla="*/ 308527 w 4025900"/>
              <a:gd name="connsiteY9" fmla="*/ 1065842 h 3602197"/>
              <a:gd name="connsiteX10" fmla="*/ 2374152 w 4025900"/>
              <a:gd name="connsiteY10" fmla="*/ 95619 h 3602197"/>
              <a:gd name="connsiteX11" fmla="*/ 2640160 w 4025900"/>
              <a:gd name="connsiteY11" fmla="*/ 1421 h 360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25900" h="3602197">
                <a:moveTo>
                  <a:pt x="2640160" y="1421"/>
                </a:moveTo>
                <a:cubicBezTo>
                  <a:pt x="2765455" y="-10147"/>
                  <a:pt x="2883034" y="48612"/>
                  <a:pt x="3141707" y="189633"/>
                </a:cubicBezTo>
                <a:cubicBezTo>
                  <a:pt x="3141707" y="189633"/>
                  <a:pt x="3141707" y="189633"/>
                  <a:pt x="3728661" y="513040"/>
                </a:cubicBezTo>
                <a:cubicBezTo>
                  <a:pt x="3890449" y="603293"/>
                  <a:pt x="4025900" y="828927"/>
                  <a:pt x="4025900" y="1016954"/>
                </a:cubicBezTo>
                <a:cubicBezTo>
                  <a:pt x="4025900" y="1016954"/>
                  <a:pt x="4025900" y="1016954"/>
                  <a:pt x="4025900" y="3295850"/>
                </a:cubicBezTo>
                <a:cubicBezTo>
                  <a:pt x="4025900" y="3483877"/>
                  <a:pt x="3875399" y="3619257"/>
                  <a:pt x="3687273" y="3600454"/>
                </a:cubicBezTo>
                <a:cubicBezTo>
                  <a:pt x="3687273" y="3600454"/>
                  <a:pt x="3687273" y="3600454"/>
                  <a:pt x="338627" y="3235681"/>
                </a:cubicBezTo>
                <a:cubicBezTo>
                  <a:pt x="154264" y="3213117"/>
                  <a:pt x="0" y="3043892"/>
                  <a:pt x="0" y="2855865"/>
                </a:cubicBezTo>
                <a:cubicBezTo>
                  <a:pt x="0" y="2855865"/>
                  <a:pt x="0" y="2855865"/>
                  <a:pt x="0" y="1550953"/>
                </a:cubicBezTo>
                <a:cubicBezTo>
                  <a:pt x="0" y="1366686"/>
                  <a:pt x="139213" y="1144813"/>
                  <a:pt x="308527" y="1065842"/>
                </a:cubicBezTo>
                <a:cubicBezTo>
                  <a:pt x="308527" y="1065842"/>
                  <a:pt x="308527" y="1065842"/>
                  <a:pt x="2374152" y="95619"/>
                </a:cubicBezTo>
                <a:cubicBezTo>
                  <a:pt x="2487028" y="40621"/>
                  <a:pt x="2564983" y="8362"/>
                  <a:pt x="2640160" y="142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56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95999" y="4580999"/>
            <a:ext cx="5472113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</a:p>
          <a:p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0" y="3357000"/>
            <a:ext cx="5472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2204864"/>
            <a:ext cx="5472113" cy="1152136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71744" y="5271077"/>
            <a:ext cx="2520000" cy="1254267"/>
          </a:xfrm>
          <a:prstGeom prst="rect">
            <a:avLst/>
          </a:prstGeom>
        </p:spPr>
      </p:pic>
      <p:grpSp>
        <p:nvGrpSpPr>
          <p:cNvPr id="19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20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Name</a:t>
            </a:r>
          </a:p>
          <a:p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07692" y="2565000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5807692" y="1412776"/>
            <a:ext cx="5760420" cy="1152911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432" y="5070131"/>
            <a:ext cx="2880000" cy="1455213"/>
          </a:xfrm>
          <a:prstGeom prst="rect">
            <a:avLst/>
          </a:prstGeom>
        </p:spPr>
      </p:pic>
      <p:grpSp>
        <p:nvGrpSpPr>
          <p:cNvPr id="11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 bwMode="gray">
          <a:xfrm>
            <a:off x="0" y="0"/>
            <a:ext cx="7668866" cy="6858000"/>
          </a:xfrm>
          <a:custGeom>
            <a:avLst/>
            <a:gdLst>
              <a:gd name="connsiteX0" fmla="*/ 0 w 7668866"/>
              <a:gd name="connsiteY0" fmla="*/ 6118796 h 6858000"/>
              <a:gd name="connsiteX1" fmla="*/ 169917 w 7668866"/>
              <a:gd name="connsiteY1" fmla="*/ 6182092 h 6858000"/>
              <a:gd name="connsiteX2" fmla="*/ 2255428 w 7668866"/>
              <a:gd name="connsiteY2" fmla="*/ 6838640 h 6858000"/>
              <a:gd name="connsiteX3" fmla="*/ 2315677 w 7668866"/>
              <a:gd name="connsiteY3" fmla="*/ 6858000 h 6858000"/>
              <a:gd name="connsiteX4" fmla="*/ 0 w 7668866"/>
              <a:gd name="connsiteY4" fmla="*/ 6858000 h 6858000"/>
              <a:gd name="connsiteX5" fmla="*/ 3581596 w 7668866"/>
              <a:gd name="connsiteY5" fmla="*/ 0 h 6858000"/>
              <a:gd name="connsiteX6" fmla="*/ 4015128 w 7668866"/>
              <a:gd name="connsiteY6" fmla="*/ 0 h 6858000"/>
              <a:gd name="connsiteX7" fmla="*/ 4167882 w 7668866"/>
              <a:gd name="connsiteY7" fmla="*/ 298486 h 6858000"/>
              <a:gd name="connsiteX8" fmla="*/ 6467174 w 7668866"/>
              <a:gd name="connsiteY8" fmla="*/ 3012758 h 6858000"/>
              <a:gd name="connsiteX9" fmla="*/ 7668866 w 7668866"/>
              <a:gd name="connsiteY9" fmla="*/ 3005248 h 6858000"/>
              <a:gd name="connsiteX10" fmla="*/ 7668866 w 7668866"/>
              <a:gd name="connsiteY10" fmla="*/ 3200516 h 6858000"/>
              <a:gd name="connsiteX11" fmla="*/ 7514899 w 7668866"/>
              <a:gd name="connsiteY11" fmla="*/ 3193006 h 6858000"/>
              <a:gd name="connsiteX12" fmla="*/ 6598609 w 7668866"/>
              <a:gd name="connsiteY12" fmla="*/ 3211781 h 6858000"/>
              <a:gd name="connsiteX13" fmla="*/ 5776201 w 7668866"/>
              <a:gd name="connsiteY13" fmla="*/ 4661271 h 6858000"/>
              <a:gd name="connsiteX14" fmla="*/ 6369537 w 7668866"/>
              <a:gd name="connsiteY14" fmla="*/ 5618835 h 6858000"/>
              <a:gd name="connsiteX15" fmla="*/ 7668866 w 7668866"/>
              <a:gd name="connsiteY15" fmla="*/ 6095740 h 6858000"/>
              <a:gd name="connsiteX16" fmla="*/ 7668866 w 7668866"/>
              <a:gd name="connsiteY16" fmla="*/ 6730361 h 6858000"/>
              <a:gd name="connsiteX17" fmla="*/ 7478585 w 7668866"/>
              <a:gd name="connsiteY17" fmla="*/ 6858000 h 6858000"/>
              <a:gd name="connsiteX18" fmla="*/ 5290708 w 7668866"/>
              <a:gd name="connsiteY18" fmla="*/ 6858000 h 6858000"/>
              <a:gd name="connsiteX19" fmla="*/ 5386062 w 7668866"/>
              <a:gd name="connsiteY19" fmla="*/ 6791676 h 6858000"/>
              <a:gd name="connsiteX20" fmla="*/ 6155486 w 7668866"/>
              <a:gd name="connsiteY20" fmla="*/ 5618835 h 6858000"/>
              <a:gd name="connsiteX21" fmla="*/ 5749914 w 7668866"/>
              <a:gd name="connsiteY21" fmla="*/ 4845274 h 6858000"/>
              <a:gd name="connsiteX22" fmla="*/ 5205398 w 7668866"/>
              <a:gd name="connsiteY22" fmla="*/ 4278245 h 6858000"/>
              <a:gd name="connsiteX23" fmla="*/ 2982268 w 7668866"/>
              <a:gd name="connsiteY23" fmla="*/ 3902730 h 6858000"/>
              <a:gd name="connsiteX24" fmla="*/ 669011 w 7668866"/>
              <a:gd name="connsiteY24" fmla="*/ 4101753 h 6858000"/>
              <a:gd name="connsiteX25" fmla="*/ 96300 w 7668866"/>
              <a:gd name="connsiteY25" fmla="*/ 4174560 h 6858000"/>
              <a:gd name="connsiteX26" fmla="*/ 0 w 7668866"/>
              <a:gd name="connsiteY26" fmla="*/ 4192923 h 6858000"/>
              <a:gd name="connsiteX27" fmla="*/ 0 w 7668866"/>
              <a:gd name="connsiteY27" fmla="*/ 3924438 h 6858000"/>
              <a:gd name="connsiteX28" fmla="*/ 292367 w 7668866"/>
              <a:gd name="connsiteY28" fmla="*/ 3925789 h 6858000"/>
              <a:gd name="connsiteX29" fmla="*/ 710319 w 7668866"/>
              <a:gd name="connsiteY29" fmla="*/ 3913995 h 6858000"/>
              <a:gd name="connsiteX30" fmla="*/ 2997289 w 7668866"/>
              <a:gd name="connsiteY30" fmla="*/ 3726238 h 6858000"/>
              <a:gd name="connsiteX31" fmla="*/ 3800920 w 7668866"/>
              <a:gd name="connsiteY31" fmla="*/ 2167848 h 6858000"/>
              <a:gd name="connsiteX32" fmla="*/ 2978512 w 7668866"/>
              <a:gd name="connsiteY32" fmla="*/ 1274122 h 6858000"/>
              <a:gd name="connsiteX33" fmla="*/ 163925 w 7668866"/>
              <a:gd name="connsiteY33" fmla="*/ 873259 h 6858000"/>
              <a:gd name="connsiteX34" fmla="*/ 0 w 7668866"/>
              <a:gd name="connsiteY34" fmla="*/ 900488 h 6858000"/>
              <a:gd name="connsiteX35" fmla="*/ 0 w 7668866"/>
              <a:gd name="connsiteY35" fmla="*/ 135524 h 6858000"/>
              <a:gd name="connsiteX36" fmla="*/ 910757 w 7668866"/>
              <a:gd name="connsiteY36" fmla="*/ 423110 h 6858000"/>
              <a:gd name="connsiteX37" fmla="*/ 2802014 w 7668866"/>
              <a:gd name="connsiteY37" fmla="*/ 999995 h 6858000"/>
              <a:gd name="connsiteX38" fmla="*/ 3586869 w 7668866"/>
              <a:gd name="connsiteY38" fmla="*/ 236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668866" h="6858000">
                <a:moveTo>
                  <a:pt x="0" y="6118796"/>
                </a:moveTo>
                <a:lnTo>
                  <a:pt x="169917" y="6182092"/>
                </a:lnTo>
                <a:cubicBezTo>
                  <a:pt x="653385" y="6353440"/>
                  <a:pt x="1331769" y="6543923"/>
                  <a:pt x="2255428" y="6838640"/>
                </a:cubicBezTo>
                <a:lnTo>
                  <a:pt x="2315677" y="6858000"/>
                </a:lnTo>
                <a:lnTo>
                  <a:pt x="0" y="6858000"/>
                </a:lnTo>
                <a:close/>
                <a:moveTo>
                  <a:pt x="3581596" y="0"/>
                </a:moveTo>
                <a:lnTo>
                  <a:pt x="4015128" y="0"/>
                </a:lnTo>
                <a:lnTo>
                  <a:pt x="4167882" y="298486"/>
                </a:lnTo>
                <a:cubicBezTo>
                  <a:pt x="4826583" y="1560217"/>
                  <a:pt x="5678564" y="2874756"/>
                  <a:pt x="6467174" y="3012758"/>
                </a:cubicBezTo>
                <a:cubicBezTo>
                  <a:pt x="6673715" y="3050310"/>
                  <a:pt x="7285827" y="3027779"/>
                  <a:pt x="7668866" y="3005248"/>
                </a:cubicBezTo>
                <a:cubicBezTo>
                  <a:pt x="7668866" y="3005248"/>
                  <a:pt x="7668866" y="3005248"/>
                  <a:pt x="7668866" y="3200516"/>
                </a:cubicBezTo>
                <a:cubicBezTo>
                  <a:pt x="7620047" y="3196761"/>
                  <a:pt x="7567473" y="3193006"/>
                  <a:pt x="7514899" y="3193006"/>
                </a:cubicBezTo>
                <a:cubicBezTo>
                  <a:pt x="7345912" y="3193006"/>
                  <a:pt x="6733800" y="3196761"/>
                  <a:pt x="6598609" y="3211781"/>
                </a:cubicBezTo>
                <a:cubicBezTo>
                  <a:pt x="6061603" y="3275619"/>
                  <a:pt x="5333078" y="3827627"/>
                  <a:pt x="5776201" y="4661271"/>
                </a:cubicBezTo>
                <a:cubicBezTo>
                  <a:pt x="5840041" y="4777681"/>
                  <a:pt x="6279410" y="5498671"/>
                  <a:pt x="6369537" y="5618835"/>
                </a:cubicBezTo>
                <a:cubicBezTo>
                  <a:pt x="6531014" y="5832879"/>
                  <a:pt x="7109328" y="6065699"/>
                  <a:pt x="7668866" y="6095740"/>
                </a:cubicBezTo>
                <a:cubicBezTo>
                  <a:pt x="7668866" y="6095740"/>
                  <a:pt x="7668866" y="6095740"/>
                  <a:pt x="7668866" y="6730361"/>
                </a:cubicBezTo>
                <a:lnTo>
                  <a:pt x="7478585" y="6858000"/>
                </a:lnTo>
                <a:lnTo>
                  <a:pt x="5290708" y="6858000"/>
                </a:lnTo>
                <a:lnTo>
                  <a:pt x="5386062" y="6791676"/>
                </a:lnTo>
                <a:cubicBezTo>
                  <a:pt x="5840041" y="6471490"/>
                  <a:pt x="6251245" y="6128598"/>
                  <a:pt x="6155486" y="5618835"/>
                </a:cubicBezTo>
                <a:cubicBezTo>
                  <a:pt x="6132954" y="5498671"/>
                  <a:pt x="5813754" y="4954173"/>
                  <a:pt x="5749914" y="4845274"/>
                </a:cubicBezTo>
                <a:cubicBezTo>
                  <a:pt x="5663543" y="4691312"/>
                  <a:pt x="5487044" y="4424696"/>
                  <a:pt x="5205398" y="4278245"/>
                </a:cubicBezTo>
                <a:cubicBezTo>
                  <a:pt x="4582020" y="3962812"/>
                  <a:pt x="3917334" y="3835137"/>
                  <a:pt x="2982268" y="3902730"/>
                </a:cubicBezTo>
                <a:cubicBezTo>
                  <a:pt x="2426485" y="3944037"/>
                  <a:pt x="1367494" y="4037915"/>
                  <a:pt x="669011" y="4101753"/>
                </a:cubicBezTo>
                <a:cubicBezTo>
                  <a:pt x="508472" y="4117243"/>
                  <a:pt x="303574" y="4139598"/>
                  <a:pt x="96300" y="4174560"/>
                </a:cubicBezTo>
                <a:lnTo>
                  <a:pt x="0" y="4192923"/>
                </a:lnTo>
                <a:lnTo>
                  <a:pt x="0" y="3924438"/>
                </a:lnTo>
                <a:lnTo>
                  <a:pt x="292367" y="3925789"/>
                </a:lnTo>
                <a:cubicBezTo>
                  <a:pt x="431958" y="3924322"/>
                  <a:pt x="571373" y="3920567"/>
                  <a:pt x="710319" y="3913995"/>
                </a:cubicBezTo>
                <a:cubicBezTo>
                  <a:pt x="999476" y="3898975"/>
                  <a:pt x="2670579" y="3756279"/>
                  <a:pt x="2997289" y="3726238"/>
                </a:cubicBezTo>
                <a:cubicBezTo>
                  <a:pt x="3759612" y="3651135"/>
                  <a:pt x="3977419" y="2689815"/>
                  <a:pt x="3800920" y="2167848"/>
                </a:cubicBezTo>
                <a:cubicBezTo>
                  <a:pt x="3639443" y="1698454"/>
                  <a:pt x="3504253" y="1409307"/>
                  <a:pt x="2978512" y="1274122"/>
                </a:cubicBezTo>
                <a:cubicBezTo>
                  <a:pt x="1536482" y="909872"/>
                  <a:pt x="709380" y="808482"/>
                  <a:pt x="163925" y="873259"/>
                </a:cubicBezTo>
                <a:lnTo>
                  <a:pt x="0" y="900488"/>
                </a:lnTo>
                <a:lnTo>
                  <a:pt x="0" y="135524"/>
                </a:lnTo>
                <a:lnTo>
                  <a:pt x="910757" y="423110"/>
                </a:lnTo>
                <a:cubicBezTo>
                  <a:pt x="1537421" y="618847"/>
                  <a:pt x="2167370" y="812238"/>
                  <a:pt x="2802014" y="999995"/>
                </a:cubicBezTo>
                <a:cubicBezTo>
                  <a:pt x="3737081" y="1274122"/>
                  <a:pt x="3699528" y="616970"/>
                  <a:pt x="3586869" y="23655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4" name="Freeform 13"/>
          <p:cNvSpPr/>
          <p:nvPr userDrawn="1"/>
        </p:nvSpPr>
        <p:spPr bwMode="gray">
          <a:xfrm>
            <a:off x="-1" y="-1"/>
            <a:ext cx="12192000" cy="6858001"/>
          </a:xfrm>
          <a:custGeom>
            <a:avLst/>
            <a:gdLst>
              <a:gd name="connsiteX0" fmla="*/ 2376294 w 12192000"/>
              <a:gd name="connsiteY0" fmla="*/ 0 h 6858000"/>
              <a:gd name="connsiteX1" fmla="*/ 2892698 w 12192000"/>
              <a:gd name="connsiteY1" fmla="*/ 0 h 6858000"/>
              <a:gd name="connsiteX2" fmla="*/ 2891112 w 12192000"/>
              <a:gd name="connsiteY2" fmla="*/ 25388 h 6858000"/>
              <a:gd name="connsiteX3" fmla="*/ 3097511 w 12192000"/>
              <a:gd name="connsiteY3" fmla="*/ 567520 h 6858000"/>
              <a:gd name="connsiteX4" fmla="*/ 5003886 w 12192000"/>
              <a:gd name="connsiteY4" fmla="*/ 1145793 h 6858000"/>
              <a:gd name="connsiteX5" fmla="*/ 7398113 w 12192000"/>
              <a:gd name="connsiteY5" fmla="*/ 650130 h 6858000"/>
              <a:gd name="connsiteX6" fmla="*/ 7738316 w 12192000"/>
              <a:gd name="connsiteY6" fmla="*/ 36515 h 6858000"/>
              <a:gd name="connsiteX7" fmla="*/ 7715084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6858000 h 6858000"/>
              <a:gd name="connsiteX10" fmla="*/ 0 w 12192000"/>
              <a:gd name="connsiteY10" fmla="*/ 6858000 h 6858000"/>
              <a:gd name="connsiteX11" fmla="*/ 0 w 12192000"/>
              <a:gd name="connsiteY11" fmla="*/ 4710669 h 6858000"/>
              <a:gd name="connsiteX12" fmla="*/ 108070 w 12192000"/>
              <a:gd name="connsiteY12" fmla="*/ 4629515 h 6858000"/>
              <a:gd name="connsiteX13" fmla="*/ 538165 w 12192000"/>
              <a:gd name="connsiteY13" fmla="*/ 3421336 h 6858000"/>
              <a:gd name="connsiteX14" fmla="*/ 74237 w 12192000"/>
              <a:gd name="connsiteY14" fmla="*/ 2357257 h 6858000"/>
              <a:gd name="connsiteX15" fmla="*/ 0 w 12192000"/>
              <a:gd name="connsiteY15" fmla="*/ 2257472 h 6858000"/>
              <a:gd name="connsiteX16" fmla="*/ 0 w 12192000"/>
              <a:gd name="connsiteY16" fmla="*/ 667182 h 6858000"/>
              <a:gd name="connsiteX17" fmla="*/ 24044 w 12192000"/>
              <a:gd name="connsiteY17" fmla="*/ 683925 h 6858000"/>
              <a:gd name="connsiteX18" fmla="*/ 1502611 w 12192000"/>
              <a:gd name="connsiteY18" fmla="*/ 1479990 h 6858000"/>
              <a:gd name="connsiteX19" fmla="*/ 2500831 w 12192000"/>
              <a:gd name="connsiteY19" fmla="*/ 1303504 h 6858000"/>
              <a:gd name="connsiteX20" fmla="*/ 2654692 w 12192000"/>
              <a:gd name="connsiteY20" fmla="*/ 376014 h 6858000"/>
              <a:gd name="connsiteX21" fmla="*/ 2507926 w 12192000"/>
              <a:gd name="connsiteY21" fmla="*/ 1752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2376294" y="0"/>
                </a:moveTo>
                <a:lnTo>
                  <a:pt x="2892698" y="0"/>
                </a:lnTo>
                <a:lnTo>
                  <a:pt x="2891112" y="25388"/>
                </a:lnTo>
                <a:cubicBezTo>
                  <a:pt x="2895803" y="224874"/>
                  <a:pt x="2968043" y="422951"/>
                  <a:pt x="3097511" y="567520"/>
                </a:cubicBezTo>
                <a:cubicBezTo>
                  <a:pt x="3581610" y="1104488"/>
                  <a:pt x="4362173" y="1164568"/>
                  <a:pt x="5003886" y="1145793"/>
                </a:cubicBezTo>
                <a:cubicBezTo>
                  <a:pt x="5701890" y="1123263"/>
                  <a:pt x="6797680" y="1081958"/>
                  <a:pt x="7398113" y="650130"/>
                </a:cubicBezTo>
                <a:cubicBezTo>
                  <a:pt x="7738202" y="404880"/>
                  <a:pt x="7811864" y="202901"/>
                  <a:pt x="7738316" y="36515"/>
                </a:cubicBezTo>
                <a:lnTo>
                  <a:pt x="7715084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0669"/>
                </a:lnTo>
                <a:lnTo>
                  <a:pt x="108070" y="4629515"/>
                </a:lnTo>
                <a:cubicBezTo>
                  <a:pt x="459358" y="4359857"/>
                  <a:pt x="743626" y="4069077"/>
                  <a:pt x="538165" y="3421336"/>
                </a:cubicBezTo>
                <a:cubicBezTo>
                  <a:pt x="393686" y="2966979"/>
                  <a:pt x="262341" y="2640292"/>
                  <a:pt x="74237" y="2357257"/>
                </a:cubicBezTo>
                <a:lnTo>
                  <a:pt x="0" y="2257472"/>
                </a:lnTo>
                <a:lnTo>
                  <a:pt x="0" y="667182"/>
                </a:lnTo>
                <a:lnTo>
                  <a:pt x="24044" y="683925"/>
                </a:lnTo>
                <a:cubicBezTo>
                  <a:pt x="485627" y="984327"/>
                  <a:pt x="995996" y="1344809"/>
                  <a:pt x="1502611" y="1479990"/>
                </a:cubicBezTo>
                <a:cubicBezTo>
                  <a:pt x="1814086" y="1562601"/>
                  <a:pt x="2200614" y="1427420"/>
                  <a:pt x="2500831" y="1303504"/>
                </a:cubicBezTo>
                <a:cubicBezTo>
                  <a:pt x="2962414" y="1111998"/>
                  <a:pt x="2891112" y="710211"/>
                  <a:pt x="2654692" y="376014"/>
                </a:cubicBezTo>
                <a:cubicBezTo>
                  <a:pt x="2606845" y="310301"/>
                  <a:pt x="2557825" y="242945"/>
                  <a:pt x="2507926" y="17529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5" name="Picture Placeholder 45"/>
          <p:cNvSpPr>
            <a:spLocks noGrp="1"/>
          </p:cNvSpPr>
          <p:nvPr>
            <p:ph type="pic" sz="quarter" idx="19"/>
          </p:nvPr>
        </p:nvSpPr>
        <p:spPr bwMode="gray">
          <a:xfrm>
            <a:off x="700812" y="1282237"/>
            <a:ext cx="5182809" cy="4539274"/>
          </a:xfrm>
          <a:custGeom>
            <a:avLst/>
            <a:gdLst>
              <a:gd name="connsiteX0" fmla="*/ 3144164 w 5182809"/>
              <a:gd name="connsiteY0" fmla="*/ 0 h 4539274"/>
              <a:gd name="connsiteX1" fmla="*/ 3986889 w 5182809"/>
              <a:gd name="connsiteY1" fmla="*/ 181304 h 4539274"/>
              <a:gd name="connsiteX2" fmla="*/ 4723453 w 5182809"/>
              <a:gd name="connsiteY2" fmla="*/ 3961442 h 4539274"/>
              <a:gd name="connsiteX3" fmla="*/ 2712936 w 5182809"/>
              <a:gd name="connsiteY3" fmla="*/ 4476232 h 4539274"/>
              <a:gd name="connsiteX4" fmla="*/ 446877 w 5182809"/>
              <a:gd name="connsiteY4" fmla="*/ 3157317 h 4539274"/>
              <a:gd name="connsiteX5" fmla="*/ 785095 w 5182809"/>
              <a:gd name="connsiteY5" fmla="*/ 639730 h 4539274"/>
              <a:gd name="connsiteX6" fmla="*/ 2284527 w 5182809"/>
              <a:gd name="connsiteY6" fmla="*/ 106152 h 4539274"/>
              <a:gd name="connsiteX7" fmla="*/ 3144164 w 5182809"/>
              <a:gd name="connsiteY7" fmla="*/ 0 h 453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2809" h="4539274">
                <a:moveTo>
                  <a:pt x="3144164" y="0"/>
                </a:moveTo>
                <a:cubicBezTo>
                  <a:pt x="3441983" y="0"/>
                  <a:pt x="3736984" y="47910"/>
                  <a:pt x="3986889" y="181304"/>
                </a:cubicBezTo>
                <a:cubicBezTo>
                  <a:pt x="5302181" y="887732"/>
                  <a:pt x="5508869" y="2781558"/>
                  <a:pt x="4723453" y="3961442"/>
                </a:cubicBezTo>
                <a:cubicBezTo>
                  <a:pt x="4257464" y="4585202"/>
                  <a:pt x="3381855" y="4603990"/>
                  <a:pt x="2712936" y="4476232"/>
                </a:cubicBezTo>
                <a:cubicBezTo>
                  <a:pt x="1856118" y="4310898"/>
                  <a:pt x="1093249" y="3747259"/>
                  <a:pt x="446877" y="3157317"/>
                </a:cubicBezTo>
                <a:cubicBezTo>
                  <a:pt x="-293444" y="2477193"/>
                  <a:pt x="-67965" y="1109429"/>
                  <a:pt x="785095" y="639730"/>
                </a:cubicBezTo>
                <a:cubicBezTo>
                  <a:pt x="1251084" y="380457"/>
                  <a:pt x="1773442" y="222638"/>
                  <a:pt x="2284527" y="106152"/>
                </a:cubicBezTo>
                <a:cubicBezTo>
                  <a:pt x="2545706" y="47910"/>
                  <a:pt x="2846344" y="0"/>
                  <a:pt x="314416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68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Cliquez sur l'icône pour ajouter une image</a:t>
            </a:r>
            <a:endParaRPr lang="en-US" noProof="0" dirty="0" smtClean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000" y="5085000"/>
            <a:ext cx="2880000" cy="14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240542" y="4076874"/>
            <a:ext cx="5327542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Name</a:t>
            </a:r>
            <a:br>
              <a:rPr lang="en-US" noProof="0" dirty="0" smtClean="0"/>
            </a:br>
            <a:r>
              <a:rPr lang="en-US" noProof="0" dirty="0" smtClean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40922" y="3140874"/>
            <a:ext cx="5327192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 smtClean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240922" y="1988840"/>
            <a:ext cx="5327192" cy="1152721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6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42859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35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noProof="0" smtClean="0"/>
              <a:pPr/>
              <a:t>‹N°›</a:t>
            </a:fld>
            <a:endParaRPr lang="en-US" noProof="0" dirty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12775"/>
            <a:ext cx="10944227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 smtClean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30800"/>
            <a:ext cx="10944225" cy="32595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 smtClean="0"/>
              <a:t>Insert slide title here (max. 2 lines | max. 1 line with Action Title)</a:t>
            </a:r>
            <a:endParaRPr lang="en-US" noProof="0" dirty="0"/>
          </a:p>
        </p:txBody>
      </p:sp>
      <p:grpSp>
        <p:nvGrpSpPr>
          <p:cNvPr id="7" name="Logo Merck"/>
          <p:cNvGrpSpPr>
            <a:grpSpLocks noChangeAspect="1"/>
          </p:cNvGrpSpPr>
          <p:nvPr userDrawn="1">
            <p:custDataLst>
              <p:tags r:id="rId36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8" name="Logo K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Logo C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Logo R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Logo E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Logo M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2" r:id="rId3"/>
    <p:sldLayoutId id="2147483650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51" r:id="rId10"/>
    <p:sldLayoutId id="2147483664" r:id="rId11"/>
    <p:sldLayoutId id="2147483665" r:id="rId12"/>
    <p:sldLayoutId id="2147483687" r:id="rId13"/>
    <p:sldLayoutId id="2147483685" r:id="rId14"/>
    <p:sldLayoutId id="2147483686" r:id="rId15"/>
    <p:sldLayoutId id="2147483656" r:id="rId16"/>
    <p:sldLayoutId id="2147483657" r:id="rId17"/>
    <p:sldLayoutId id="2147483658" r:id="rId18"/>
    <p:sldLayoutId id="2147483652" r:id="rId19"/>
    <p:sldLayoutId id="2147483669" r:id="rId20"/>
    <p:sldLayoutId id="2147483668" r:id="rId21"/>
    <p:sldLayoutId id="2147483671" r:id="rId22"/>
    <p:sldLayoutId id="2147483673" r:id="rId23"/>
    <p:sldLayoutId id="2147483678" r:id="rId24"/>
    <p:sldLayoutId id="2147483674" r:id="rId25"/>
    <p:sldLayoutId id="2147483675" r:id="rId26"/>
    <p:sldLayoutId id="2147483679" r:id="rId27"/>
    <p:sldLayoutId id="2147483676" r:id="rId28"/>
    <p:sldLayoutId id="2147483677" r:id="rId29"/>
    <p:sldLayoutId id="2147483689" r:id="rId30"/>
    <p:sldLayoutId id="2147483683" r:id="rId31"/>
    <p:sldLayoutId id="2147483688" r:id="rId32"/>
    <p:sldLayoutId id="2147483682" r:id="rId3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3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5" orient="horz" pos="3838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  <p15:guide id="7" orient="horz" pos="3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5159375" y="3645000"/>
            <a:ext cx="6408738" cy="864120"/>
          </a:xfrm>
        </p:spPr>
        <p:txBody>
          <a:bodyPr/>
          <a:lstStyle/>
          <a:p>
            <a:r>
              <a:rPr lang="de-DE" dirty="0" smtClean="0"/>
              <a:t>Pauline Tristram / </a:t>
            </a:r>
            <a:r>
              <a:rPr lang="de-DE" dirty="0" err="1" smtClean="0"/>
              <a:t>YggVal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Mars-2017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 smtClean="0"/>
              <a:t>Procedur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manage </a:t>
            </a:r>
            <a:r>
              <a:rPr lang="de-DE" dirty="0" err="1" smtClean="0"/>
              <a:t>projec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rchive</a:t>
            </a:r>
            <a:r>
              <a:rPr lang="de-DE" dirty="0" smtClean="0"/>
              <a:t> </a:t>
            </a:r>
            <a:r>
              <a:rPr lang="de-DE" dirty="0" err="1" smtClean="0"/>
              <a:t>versions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5160000" y="1269512"/>
            <a:ext cx="6408113" cy="1512175"/>
          </a:xfrm>
        </p:spPr>
        <p:txBody>
          <a:bodyPr/>
          <a:lstStyle/>
          <a:p>
            <a:r>
              <a:rPr lang="de-DE" dirty="0" smtClean="0"/>
              <a:t>Project Management in JAM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9117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roject duplication/</a:t>
            </a:r>
            <a:r>
              <a:rPr lang="fr-FR" dirty="0" err="1"/>
              <a:t>reuse</a:t>
            </a:r>
            <a:r>
              <a:rPr lang="fr-FR" dirty="0"/>
              <a:t> in </a:t>
            </a:r>
            <a:r>
              <a:rPr lang="fr-FR" dirty="0" err="1"/>
              <a:t>jama</a:t>
            </a:r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tem </a:t>
            </a:r>
            <a:r>
              <a:rPr lang="fr-FR" dirty="0" err="1" smtClean="0"/>
              <a:t>reuse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408" y="1064528"/>
            <a:ext cx="11096261" cy="5541687"/>
          </a:xfrm>
          <a:prstGeom prst="rect">
            <a:avLst/>
          </a:prstGeom>
        </p:spPr>
      </p:pic>
      <p:sp>
        <p:nvSpPr>
          <p:cNvPr id="21" name="Ellipse 20"/>
          <p:cNvSpPr/>
          <p:nvPr/>
        </p:nvSpPr>
        <p:spPr bwMode="gray">
          <a:xfrm>
            <a:off x="948001" y="2924944"/>
            <a:ext cx="936104" cy="35260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Ellipse 21"/>
          <p:cNvSpPr/>
          <p:nvPr/>
        </p:nvSpPr>
        <p:spPr bwMode="gray">
          <a:xfrm>
            <a:off x="3849550" y="1463366"/>
            <a:ext cx="3614601" cy="1461578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4" name="Ellipse 23"/>
          <p:cNvSpPr/>
          <p:nvPr/>
        </p:nvSpPr>
        <p:spPr bwMode="gray">
          <a:xfrm>
            <a:off x="8193534" y="2994281"/>
            <a:ext cx="2540807" cy="237442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5" name="Ellipse 24"/>
          <p:cNvSpPr/>
          <p:nvPr/>
        </p:nvSpPr>
        <p:spPr bwMode="gray">
          <a:xfrm>
            <a:off x="803948" y="1463366"/>
            <a:ext cx="936104" cy="35260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7" name="Ellipse 26"/>
          <p:cNvSpPr/>
          <p:nvPr/>
        </p:nvSpPr>
        <p:spPr bwMode="gray">
          <a:xfrm>
            <a:off x="8184232" y="1463366"/>
            <a:ext cx="2232248" cy="35260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8" name="Connecteur droit avec flèche 7"/>
          <p:cNvCxnSpPr>
            <a:stCxn id="25" idx="4"/>
            <a:endCxn id="21" idx="0"/>
          </p:cNvCxnSpPr>
          <p:nvPr/>
        </p:nvCxnSpPr>
        <p:spPr>
          <a:xfrm>
            <a:off x="1272000" y="1815967"/>
            <a:ext cx="144053" cy="110897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/>
          <p:cNvCxnSpPr>
            <a:stCxn id="21" idx="6"/>
          </p:cNvCxnSpPr>
          <p:nvPr/>
        </p:nvCxnSpPr>
        <p:spPr>
          <a:xfrm flipV="1">
            <a:off x="1884105" y="2204864"/>
            <a:ext cx="1965445" cy="89638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/>
          <p:cNvCxnSpPr>
            <a:stCxn id="22" idx="6"/>
            <a:endCxn id="27" idx="2"/>
          </p:cNvCxnSpPr>
          <p:nvPr/>
        </p:nvCxnSpPr>
        <p:spPr>
          <a:xfrm flipV="1">
            <a:off x="7464151" y="1639667"/>
            <a:ext cx="720081" cy="55448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avec flèche 13"/>
          <p:cNvCxnSpPr/>
          <p:nvPr/>
        </p:nvCxnSpPr>
        <p:spPr>
          <a:xfrm>
            <a:off x="9336360" y="1815967"/>
            <a:ext cx="93236" cy="117831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Ellipse 19"/>
          <p:cNvSpPr/>
          <p:nvPr/>
        </p:nvSpPr>
        <p:spPr bwMode="gray">
          <a:xfrm>
            <a:off x="10134379" y="6329087"/>
            <a:ext cx="1270403" cy="237442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16" name="Connecteur droit avec flèche 15"/>
          <p:cNvCxnSpPr>
            <a:stCxn id="24" idx="4"/>
            <a:endCxn id="20" idx="0"/>
          </p:cNvCxnSpPr>
          <p:nvPr/>
        </p:nvCxnSpPr>
        <p:spPr>
          <a:xfrm>
            <a:off x="9463938" y="3231723"/>
            <a:ext cx="1305643" cy="309736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134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653" y="1079621"/>
            <a:ext cx="2524125" cy="3267075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roject duplication/</a:t>
            </a:r>
            <a:r>
              <a:rPr lang="fr-FR" dirty="0" err="1"/>
              <a:t>reuse</a:t>
            </a:r>
            <a:r>
              <a:rPr lang="fr-FR" dirty="0"/>
              <a:t> in </a:t>
            </a:r>
            <a:r>
              <a:rPr lang="fr-FR" dirty="0" err="1"/>
              <a:t>jama</a:t>
            </a:r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ynchronized</a:t>
            </a:r>
            <a:r>
              <a:rPr lang="fr-FR" dirty="0" smtClean="0"/>
              <a:t> item </a:t>
            </a:r>
            <a:r>
              <a:rPr lang="fr-FR" dirty="0" err="1" smtClean="0"/>
              <a:t>comparison</a:t>
            </a:r>
            <a:endParaRPr lang="fr-FR" dirty="0"/>
          </a:p>
        </p:txBody>
      </p:sp>
      <p:sp>
        <p:nvSpPr>
          <p:cNvPr id="21" name="Ellipse 20"/>
          <p:cNvSpPr/>
          <p:nvPr/>
        </p:nvSpPr>
        <p:spPr bwMode="gray">
          <a:xfrm>
            <a:off x="623888" y="3237844"/>
            <a:ext cx="1439664" cy="35260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5" name="Ellipse 24"/>
          <p:cNvSpPr/>
          <p:nvPr/>
        </p:nvSpPr>
        <p:spPr bwMode="gray">
          <a:xfrm>
            <a:off x="598165" y="1378891"/>
            <a:ext cx="936104" cy="35260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7044" y="1916831"/>
            <a:ext cx="8683283" cy="4301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968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400485"/>
          </a:xfrm>
        </p:spPr>
        <p:txBody>
          <a:bodyPr/>
          <a:lstStyle/>
          <a:p>
            <a:r>
              <a:rPr lang="fr-FR" dirty="0" err="1" smtClean="0"/>
              <a:t>Reminde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50071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Espace réservé du texte 4"/>
          <p:cNvSpPr txBox="1">
            <a:spLocks/>
          </p:cNvSpPr>
          <p:nvPr/>
        </p:nvSpPr>
        <p:spPr bwMode="gray">
          <a:xfrm>
            <a:off x="621173" y="402208"/>
            <a:ext cx="10944225" cy="316800"/>
          </a:xfrm>
          <a:prstGeom prst="rect">
            <a:avLst/>
          </a:prstGeom>
        </p:spPr>
        <p:txBody>
          <a:bodyPr vert="horz" lIns="0" tIns="18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de-DE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fr-FR" dirty="0" smtClean="0"/>
              <a:t>REMINDER</a:t>
            </a:r>
            <a:endParaRPr lang="fr-FR" dirty="0"/>
          </a:p>
        </p:txBody>
      </p:sp>
      <p:sp>
        <p:nvSpPr>
          <p:cNvPr id="73" name="Titre 5"/>
          <p:cNvSpPr txBox="1">
            <a:spLocks/>
          </p:cNvSpPr>
          <p:nvPr/>
        </p:nvSpPr>
        <p:spPr bwMode="gray">
          <a:xfrm>
            <a:off x="621173" y="726784"/>
            <a:ext cx="10944225" cy="32595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0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dirty="0" smtClean="0">
                <a:latin typeface="+mj-lt"/>
              </a:rPr>
              <a:t>Product </a:t>
            </a:r>
            <a:r>
              <a:rPr lang="fr-FR" dirty="0" err="1" smtClean="0">
                <a:latin typeface="+mj-lt"/>
              </a:rPr>
              <a:t>development</a:t>
            </a:r>
            <a:r>
              <a:rPr lang="fr-FR" dirty="0" smtClean="0">
                <a:latin typeface="+mj-lt"/>
              </a:rPr>
              <a:t> </a:t>
            </a:r>
            <a:r>
              <a:rPr lang="fr-FR" dirty="0" err="1" smtClean="0">
                <a:latin typeface="+mj-lt"/>
              </a:rPr>
              <a:t>strategy</a:t>
            </a:r>
            <a:endParaRPr lang="fr-FR" dirty="0">
              <a:latin typeface="+mj-lt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9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en-US" noProof="0" dirty="0" smtClean="0"/>
              <a:t>R&amp;D Project Strategy| Oct-2016</a:t>
            </a:r>
          </a:p>
        </p:txBody>
      </p:sp>
      <p:sp>
        <p:nvSpPr>
          <p:cNvPr id="253" name="TextBox 5"/>
          <p:cNvSpPr txBox="1"/>
          <p:nvPr/>
        </p:nvSpPr>
        <p:spPr>
          <a:xfrm rot="16200000">
            <a:off x="-553949" y="4500330"/>
            <a:ext cx="1768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black"/>
                </a:solidFill>
                <a:latin typeface="Calibri" panose="020F0502020204030204"/>
              </a:rPr>
              <a:t>PROGRAMS</a:t>
            </a:r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254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596" y="3057160"/>
            <a:ext cx="8964368" cy="402775"/>
          </a:xfrm>
          <a:prstGeom prst="rect">
            <a:avLst/>
          </a:prstGeom>
        </p:spPr>
      </p:pic>
      <p:sp>
        <p:nvSpPr>
          <p:cNvPr id="255" name="Notched Right Arrow 7"/>
          <p:cNvSpPr/>
          <p:nvPr/>
        </p:nvSpPr>
        <p:spPr>
          <a:xfrm>
            <a:off x="1040791" y="4041303"/>
            <a:ext cx="7796857" cy="657039"/>
          </a:xfrm>
          <a:prstGeom prst="notchedRightArrow">
            <a:avLst/>
          </a:prstGeom>
          <a:solidFill>
            <a:srgbClr val="5B9BD5">
              <a:tint val="40000"/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undation 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valves, pumps, equipment modules, login, audit trail,..)</a:t>
            </a:r>
          </a:p>
        </p:txBody>
      </p:sp>
      <p:sp>
        <p:nvSpPr>
          <p:cNvPr id="256" name="Notched Right Arrow 8"/>
          <p:cNvSpPr/>
          <p:nvPr/>
        </p:nvSpPr>
        <p:spPr>
          <a:xfrm>
            <a:off x="1522863" y="4515112"/>
            <a:ext cx="7272554" cy="666712"/>
          </a:xfrm>
          <a:prstGeom prst="notchedRightArrow">
            <a:avLst/>
          </a:prstGeom>
          <a:solidFill>
            <a:srgbClr val="5B9BD5">
              <a:tint val="40000"/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ipe Editor 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modify, download..)</a:t>
            </a:r>
          </a:p>
        </p:txBody>
      </p:sp>
      <p:sp>
        <p:nvSpPr>
          <p:cNvPr id="257" name="Notched Right Arrow 9"/>
          <p:cNvSpPr/>
          <p:nvPr/>
        </p:nvSpPr>
        <p:spPr>
          <a:xfrm>
            <a:off x="542573" y="3527499"/>
            <a:ext cx="8289029" cy="675336"/>
          </a:xfrm>
          <a:prstGeom prst="notchedRightArrow">
            <a:avLst/>
          </a:prstGeom>
          <a:solidFill>
            <a:srgbClr val="5B9BD5">
              <a:tint val="40000"/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XT Connect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8" name="Notched Right Arrow 10"/>
          <p:cNvSpPr/>
          <p:nvPr/>
        </p:nvSpPr>
        <p:spPr>
          <a:xfrm>
            <a:off x="1781655" y="5040763"/>
            <a:ext cx="7013215" cy="692493"/>
          </a:xfrm>
          <a:prstGeom prst="notchedRightArrow">
            <a:avLst/>
          </a:prstGeom>
          <a:solidFill>
            <a:srgbClr val="5B9BD5">
              <a:tint val="40000"/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oreactor Application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59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6268" y="5231199"/>
            <a:ext cx="274385" cy="338216"/>
          </a:xfrm>
          <a:prstGeom prst="rect">
            <a:avLst/>
          </a:prstGeom>
        </p:spPr>
      </p:pic>
      <p:sp>
        <p:nvSpPr>
          <p:cNvPr id="260" name="Rectangle 259"/>
          <p:cNvSpPr/>
          <p:nvPr/>
        </p:nvSpPr>
        <p:spPr bwMode="gray">
          <a:xfrm>
            <a:off x="5624684" y="3815699"/>
            <a:ext cx="311290" cy="153349"/>
          </a:xfrm>
          <a:prstGeom prst="rect">
            <a:avLst/>
          </a:prstGeom>
          <a:solidFill>
            <a:srgbClr val="149B5F"/>
          </a:solidFill>
          <a:ln w="9525" cap="flat" cmpd="sng" algn="ctr">
            <a:solidFill>
              <a:srgbClr val="149B5F">
                <a:alpha val="6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1" name="Rectangle 260"/>
          <p:cNvSpPr/>
          <p:nvPr/>
        </p:nvSpPr>
        <p:spPr bwMode="gray">
          <a:xfrm>
            <a:off x="6439497" y="3800576"/>
            <a:ext cx="311290" cy="153349"/>
          </a:xfrm>
          <a:prstGeom prst="rect">
            <a:avLst/>
          </a:prstGeom>
          <a:solidFill>
            <a:srgbClr val="149B5F"/>
          </a:solidFill>
          <a:ln w="9525" cap="flat" cmpd="sng" algn="ctr">
            <a:solidFill>
              <a:srgbClr val="149B5F">
                <a:alpha val="6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262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4486" y="543053"/>
            <a:ext cx="1473483" cy="1435423"/>
          </a:xfrm>
          <a:prstGeom prst="rect">
            <a:avLst/>
          </a:prstGeom>
        </p:spPr>
      </p:pic>
      <p:sp>
        <p:nvSpPr>
          <p:cNvPr id="263" name="Up Arrow 18"/>
          <p:cNvSpPr/>
          <p:nvPr/>
        </p:nvSpPr>
        <p:spPr>
          <a:xfrm>
            <a:off x="8965972" y="2687408"/>
            <a:ext cx="242319" cy="3045848"/>
          </a:xfrm>
          <a:prstGeom prst="up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4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46568" y="1531704"/>
            <a:ext cx="314734" cy="338216"/>
          </a:xfrm>
          <a:prstGeom prst="rect">
            <a:avLst/>
          </a:prstGeom>
        </p:spPr>
      </p:pic>
      <p:sp>
        <p:nvSpPr>
          <p:cNvPr id="265" name="Rectangle 264"/>
          <p:cNvSpPr/>
          <p:nvPr/>
        </p:nvSpPr>
        <p:spPr bwMode="gray">
          <a:xfrm>
            <a:off x="8304020" y="2014088"/>
            <a:ext cx="357065" cy="153349"/>
          </a:xfrm>
          <a:prstGeom prst="rect">
            <a:avLst/>
          </a:prstGeom>
          <a:solidFill>
            <a:srgbClr val="149B5F"/>
          </a:solidFill>
          <a:ln w="9525" cap="flat" cmpd="sng" algn="ctr">
            <a:solidFill>
              <a:srgbClr val="149B5F">
                <a:alpha val="6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6" name="Cube 265"/>
          <p:cNvSpPr/>
          <p:nvPr/>
        </p:nvSpPr>
        <p:spPr bwMode="gray">
          <a:xfrm>
            <a:off x="8872692" y="1500622"/>
            <a:ext cx="142198" cy="108736"/>
          </a:xfrm>
          <a:prstGeom prst="cube">
            <a:avLst/>
          </a:prstGeom>
          <a:solidFill>
            <a:srgbClr val="FFC000"/>
          </a:solidFill>
          <a:ln w="9525" cap="flat" cmpd="sng" algn="ctr">
            <a:solidFill>
              <a:srgbClr val="503291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7" name="Flowchart: Card 22"/>
          <p:cNvSpPr/>
          <p:nvPr/>
        </p:nvSpPr>
        <p:spPr>
          <a:xfrm>
            <a:off x="7026227" y="4805533"/>
            <a:ext cx="234222" cy="149768"/>
          </a:xfrm>
          <a:prstGeom prst="flowChartPunchedCard">
            <a:avLst/>
          </a:prstGeom>
          <a:solidFill>
            <a:srgbClr val="0070C0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8" name="Flowchart: Card 23"/>
          <p:cNvSpPr/>
          <p:nvPr/>
        </p:nvSpPr>
        <p:spPr>
          <a:xfrm>
            <a:off x="8526753" y="1209784"/>
            <a:ext cx="268664" cy="149768"/>
          </a:xfrm>
          <a:prstGeom prst="flowChartPunchedCard">
            <a:avLst/>
          </a:prstGeom>
          <a:solidFill>
            <a:srgbClr val="0070C0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9" name="Cube 268"/>
          <p:cNvSpPr/>
          <p:nvPr/>
        </p:nvSpPr>
        <p:spPr bwMode="gray">
          <a:xfrm>
            <a:off x="6211552" y="4337150"/>
            <a:ext cx="123968" cy="108736"/>
          </a:xfrm>
          <a:prstGeom prst="cube">
            <a:avLst/>
          </a:prstGeom>
          <a:solidFill>
            <a:srgbClr val="FFC000"/>
          </a:solidFill>
          <a:ln w="9525" cap="flat" cmpd="sng" algn="ctr">
            <a:solidFill>
              <a:srgbClr val="503291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0" name="Cube 269"/>
          <p:cNvSpPr/>
          <p:nvPr/>
        </p:nvSpPr>
        <p:spPr bwMode="gray">
          <a:xfrm>
            <a:off x="6893160" y="4339752"/>
            <a:ext cx="123968" cy="108736"/>
          </a:xfrm>
          <a:prstGeom prst="cube">
            <a:avLst/>
          </a:prstGeom>
          <a:solidFill>
            <a:srgbClr val="FFC000"/>
          </a:solidFill>
          <a:ln w="9525" cap="flat" cmpd="sng" algn="ctr">
            <a:solidFill>
              <a:srgbClr val="503291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1" name="Cube 270"/>
          <p:cNvSpPr/>
          <p:nvPr/>
        </p:nvSpPr>
        <p:spPr bwMode="gray">
          <a:xfrm>
            <a:off x="7148836" y="4337715"/>
            <a:ext cx="123968" cy="108736"/>
          </a:xfrm>
          <a:prstGeom prst="cube">
            <a:avLst/>
          </a:prstGeom>
          <a:solidFill>
            <a:srgbClr val="FFC000"/>
          </a:solidFill>
          <a:ln w="9525" cap="flat" cmpd="sng" algn="ctr">
            <a:solidFill>
              <a:srgbClr val="503291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2" name="Cube 271"/>
          <p:cNvSpPr/>
          <p:nvPr/>
        </p:nvSpPr>
        <p:spPr bwMode="gray">
          <a:xfrm>
            <a:off x="9140799" y="1743451"/>
            <a:ext cx="142198" cy="108736"/>
          </a:xfrm>
          <a:prstGeom prst="cube">
            <a:avLst/>
          </a:prstGeom>
          <a:solidFill>
            <a:srgbClr val="FFC000"/>
          </a:solidFill>
          <a:ln w="9525" cap="flat" cmpd="sng" algn="ctr">
            <a:solidFill>
              <a:srgbClr val="503291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3" name="TextBox 28"/>
          <p:cNvSpPr txBox="1"/>
          <p:nvPr/>
        </p:nvSpPr>
        <p:spPr>
          <a:xfrm>
            <a:off x="8304020" y="2189599"/>
            <a:ext cx="17275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prstClr val="black"/>
                </a:solidFill>
                <a:latin typeface="Calibri" panose="020F0502020204030204"/>
              </a:rPr>
              <a:t>Product</a:t>
            </a:r>
            <a:endParaRPr lang="en-US" sz="3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4" name="TextBox 4"/>
          <p:cNvSpPr txBox="1"/>
          <p:nvPr/>
        </p:nvSpPr>
        <p:spPr>
          <a:xfrm>
            <a:off x="505534" y="1175184"/>
            <a:ext cx="79563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 smtClean="0">
                <a:solidFill>
                  <a:prstClr val="black"/>
                </a:solidFill>
                <a:latin typeface="Calibri" panose="020F0502020204030204"/>
              </a:rPr>
              <a:t>Capability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=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commercialize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unit of the « </a:t>
            </a:r>
            <a:r>
              <a:rPr lang="fr-FR" b="1" dirty="0" smtClean="0">
                <a:solidFill>
                  <a:prstClr val="black"/>
                </a:solidFill>
                <a:latin typeface="Calibri" panose="020F0502020204030204"/>
              </a:rPr>
              <a:t>Value Stream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 »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level</a:t>
            </a:r>
            <a:endParaRPr lang="fr-FR" dirty="0" smtClean="0">
              <a:solidFill>
                <a:prstClr val="black"/>
              </a:solidFill>
              <a:latin typeface="Calibri" panose="020F0502020204030204"/>
            </a:endParaRPr>
          </a:p>
          <a:p>
            <a:endParaRPr lang="fr-FR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fr-FR" b="1" dirty="0" err="1" smtClean="0">
                <a:solidFill>
                  <a:prstClr val="black"/>
                </a:solidFill>
                <a:latin typeface="Calibri" panose="020F0502020204030204"/>
              </a:rPr>
              <a:t>Capability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= a « </a:t>
            </a:r>
            <a:r>
              <a:rPr lang="fr-FR" b="1" dirty="0" err="1" smtClean="0">
                <a:solidFill>
                  <a:prstClr val="black"/>
                </a:solidFill>
                <a:latin typeface="Calibri" panose="020F0502020204030204"/>
              </a:rPr>
              <a:t>product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 »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that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we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can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sell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because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it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is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interesting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for a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customer</a:t>
            </a:r>
            <a:endParaRPr lang="fr-FR" dirty="0" smtClean="0">
              <a:solidFill>
                <a:prstClr val="black"/>
              </a:solidFill>
              <a:latin typeface="Calibri" panose="020F0502020204030204"/>
            </a:endParaRPr>
          </a:p>
          <a:p>
            <a:endParaRPr lang="fr-FR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fr-FR" b="1" dirty="0" err="1" smtClean="0">
                <a:solidFill>
                  <a:prstClr val="black"/>
                </a:solidFill>
                <a:latin typeface="Calibri" panose="020F0502020204030204"/>
              </a:rPr>
              <a:t>Capability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= a « </a:t>
            </a:r>
            <a:r>
              <a:rPr lang="fr-FR" b="1" dirty="0" err="1" smtClean="0">
                <a:solidFill>
                  <a:prstClr val="black"/>
                </a:solidFill>
                <a:latin typeface="Calibri" panose="020F0502020204030204"/>
              </a:rPr>
              <a:t>product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 »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that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can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become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a « </a:t>
            </a:r>
            <a:r>
              <a:rPr lang="fr-FR" b="1" dirty="0" smtClean="0">
                <a:solidFill>
                  <a:prstClr val="black"/>
                </a:solidFill>
                <a:latin typeface="Calibri" panose="020F0502020204030204"/>
              </a:rPr>
              <a:t>solution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 » at the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customer’s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site</a:t>
            </a:r>
            <a:endParaRPr lang="fr-FR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275" name="Picture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0670" y="1095147"/>
            <a:ext cx="1473483" cy="1435423"/>
          </a:xfrm>
          <a:prstGeom prst="rect">
            <a:avLst/>
          </a:prstGeom>
        </p:spPr>
      </p:pic>
      <p:pic>
        <p:nvPicPr>
          <p:cNvPr id="276" name="Picture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2752" y="2083798"/>
            <a:ext cx="314734" cy="338216"/>
          </a:xfrm>
          <a:prstGeom prst="rect">
            <a:avLst/>
          </a:prstGeom>
        </p:spPr>
      </p:pic>
      <p:sp>
        <p:nvSpPr>
          <p:cNvPr id="277" name="Rectangle 276"/>
          <p:cNvSpPr/>
          <p:nvPr/>
        </p:nvSpPr>
        <p:spPr bwMode="gray">
          <a:xfrm>
            <a:off x="10430204" y="2566182"/>
            <a:ext cx="357065" cy="153349"/>
          </a:xfrm>
          <a:prstGeom prst="rect">
            <a:avLst/>
          </a:prstGeom>
          <a:solidFill>
            <a:srgbClr val="149B5F"/>
          </a:solidFill>
          <a:ln w="9525" cap="flat" cmpd="sng" algn="ctr">
            <a:solidFill>
              <a:srgbClr val="149B5F">
                <a:alpha val="6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8" name="Cube 277"/>
          <p:cNvSpPr/>
          <p:nvPr/>
        </p:nvSpPr>
        <p:spPr bwMode="gray">
          <a:xfrm>
            <a:off x="10998876" y="2052716"/>
            <a:ext cx="142198" cy="108736"/>
          </a:xfrm>
          <a:prstGeom prst="cube">
            <a:avLst/>
          </a:prstGeom>
          <a:solidFill>
            <a:srgbClr val="FFC000"/>
          </a:solidFill>
          <a:ln w="9525" cap="flat" cmpd="sng" algn="ctr">
            <a:solidFill>
              <a:srgbClr val="503291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9" name="Flowchart: Card 34"/>
          <p:cNvSpPr/>
          <p:nvPr/>
        </p:nvSpPr>
        <p:spPr>
          <a:xfrm>
            <a:off x="10652937" y="1761878"/>
            <a:ext cx="268664" cy="149768"/>
          </a:xfrm>
          <a:prstGeom prst="flowChartPunchedCard">
            <a:avLst/>
          </a:prstGeom>
          <a:solidFill>
            <a:srgbClr val="0070C0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0" name="Cube 279"/>
          <p:cNvSpPr/>
          <p:nvPr/>
        </p:nvSpPr>
        <p:spPr bwMode="gray">
          <a:xfrm>
            <a:off x="11266983" y="2295545"/>
            <a:ext cx="142198" cy="108736"/>
          </a:xfrm>
          <a:prstGeom prst="cube">
            <a:avLst/>
          </a:prstGeom>
          <a:solidFill>
            <a:srgbClr val="FFC000"/>
          </a:solidFill>
          <a:ln w="9525" cap="flat" cmpd="sng" algn="ctr">
            <a:solidFill>
              <a:srgbClr val="503291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81" name="Rectangle 280"/>
          <p:cNvSpPr/>
          <p:nvPr/>
        </p:nvSpPr>
        <p:spPr bwMode="gray">
          <a:xfrm>
            <a:off x="11266983" y="2583328"/>
            <a:ext cx="357065" cy="153349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rgbClr val="149B5F">
                <a:alpha val="6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whit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82" name="TextBox 38"/>
          <p:cNvSpPr txBox="1"/>
          <p:nvPr/>
        </p:nvSpPr>
        <p:spPr>
          <a:xfrm>
            <a:off x="9840117" y="3929853"/>
            <a:ext cx="23765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Custom package (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e.g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. configuration,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specific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documentation for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dedicated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dirty="0" err="1" smtClean="0">
                <a:solidFill>
                  <a:prstClr val="black"/>
                </a:solidFill>
                <a:latin typeface="Calibri" panose="020F0502020204030204"/>
              </a:rPr>
              <a:t>customer</a:t>
            </a:r>
            <a:r>
              <a:rPr lang="fr-FR" dirty="0" smtClean="0">
                <a:solidFill>
                  <a:prstClr val="black"/>
                </a:solidFill>
                <a:latin typeface="Calibri" panose="020F0502020204030204"/>
              </a:rPr>
              <a:t>)</a:t>
            </a:r>
            <a:endParaRPr lang="fr-FR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83" name="Straight Arrow Connector 40"/>
          <p:cNvCxnSpPr>
            <a:stCxn id="282" idx="0"/>
            <a:endCxn id="281" idx="2"/>
          </p:cNvCxnSpPr>
          <p:nvPr/>
        </p:nvCxnSpPr>
        <p:spPr>
          <a:xfrm flipV="1">
            <a:off x="11028399" y="2736677"/>
            <a:ext cx="417117" cy="1193176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4" name="Right Arrow 49"/>
          <p:cNvSpPr/>
          <p:nvPr/>
        </p:nvSpPr>
        <p:spPr>
          <a:xfrm>
            <a:off x="9840587" y="1621393"/>
            <a:ext cx="467934" cy="411024"/>
          </a:xfrm>
          <a:prstGeom prst="right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47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" grpId="0" animBg="1"/>
      <p:bldP spid="269" grpId="0" animBg="1"/>
      <p:bldP spid="270" grpId="0" animBg="1"/>
      <p:bldP spid="271" grpId="0" animBg="1"/>
      <p:bldP spid="272" grpId="0" animBg="1"/>
      <p:bldP spid="278" grpId="0" animBg="1"/>
      <p:bldP spid="28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re 5"/>
          <p:cNvSpPr txBox="1">
            <a:spLocks/>
          </p:cNvSpPr>
          <p:nvPr/>
        </p:nvSpPr>
        <p:spPr bwMode="gray">
          <a:xfrm>
            <a:off x="621173" y="726784"/>
            <a:ext cx="10944225" cy="32595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000" b="1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dirty="0"/>
              <a:t>JAMA – Release Management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9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272000" y="6380999"/>
            <a:ext cx="8718972" cy="216172"/>
          </a:xfrm>
        </p:spPr>
        <p:txBody>
          <a:bodyPr/>
          <a:lstStyle/>
          <a:p>
            <a:r>
              <a:rPr lang="en-US" noProof="0" dirty="0" smtClean="0"/>
              <a:t>R&amp;D Project Strategy| Oct-2016</a:t>
            </a:r>
          </a:p>
        </p:txBody>
      </p:sp>
      <p:grpSp>
        <p:nvGrpSpPr>
          <p:cNvPr id="56" name="Groupe 55"/>
          <p:cNvGrpSpPr/>
          <p:nvPr/>
        </p:nvGrpSpPr>
        <p:grpSpPr>
          <a:xfrm>
            <a:off x="4987925" y="1065437"/>
            <a:ext cx="1816156" cy="1197495"/>
            <a:chOff x="1690210" y="2478900"/>
            <a:chExt cx="2131776" cy="1676442"/>
          </a:xfrm>
        </p:grpSpPr>
        <p:sp>
          <p:nvSpPr>
            <p:cNvPr id="57" name="Organigramme : Disque magnétique 56"/>
            <p:cNvSpPr/>
            <p:nvPr/>
          </p:nvSpPr>
          <p:spPr bwMode="gray">
            <a:xfrm>
              <a:off x="2216039" y="4011326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8" name="Organigramme : Disque magnétique 57"/>
            <p:cNvSpPr/>
            <p:nvPr/>
          </p:nvSpPr>
          <p:spPr bwMode="gray">
            <a:xfrm>
              <a:off x="2216039" y="3933094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9" name="Organigramme : Disque magnétique 58"/>
            <p:cNvSpPr/>
            <p:nvPr/>
          </p:nvSpPr>
          <p:spPr bwMode="gray">
            <a:xfrm>
              <a:off x="2216039" y="3854862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0" name="Organigramme : Disque magnétique 59"/>
            <p:cNvSpPr/>
            <p:nvPr/>
          </p:nvSpPr>
          <p:spPr bwMode="gray">
            <a:xfrm>
              <a:off x="2216039" y="3771224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1" name="Organigramme : Disque magnétique 60"/>
            <p:cNvSpPr/>
            <p:nvPr/>
          </p:nvSpPr>
          <p:spPr bwMode="gray">
            <a:xfrm>
              <a:off x="2216039" y="3692992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2" name="Organigramme : Disque magnétique 61"/>
            <p:cNvSpPr/>
            <p:nvPr/>
          </p:nvSpPr>
          <p:spPr bwMode="gray">
            <a:xfrm>
              <a:off x="2216039" y="3614760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3" name="Organigramme : Disque magnétique 62"/>
            <p:cNvSpPr/>
            <p:nvPr/>
          </p:nvSpPr>
          <p:spPr bwMode="gray">
            <a:xfrm>
              <a:off x="2216039" y="3535107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4" name="Organigramme : Disque magnétique 63"/>
            <p:cNvSpPr/>
            <p:nvPr/>
          </p:nvSpPr>
          <p:spPr bwMode="gray">
            <a:xfrm>
              <a:off x="2216039" y="3456875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5" name="Organigramme : Disque magnétique 64"/>
            <p:cNvSpPr/>
            <p:nvPr/>
          </p:nvSpPr>
          <p:spPr bwMode="gray">
            <a:xfrm>
              <a:off x="2216039" y="3378643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6" name="Organigramme : Disque magnétique 65"/>
            <p:cNvSpPr/>
            <p:nvPr/>
          </p:nvSpPr>
          <p:spPr bwMode="gray">
            <a:xfrm>
              <a:off x="2216039" y="3295005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7" name="Organigramme : Disque magnétique 66"/>
            <p:cNvSpPr/>
            <p:nvPr/>
          </p:nvSpPr>
          <p:spPr bwMode="gray">
            <a:xfrm>
              <a:off x="2216039" y="3216773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8" name="Organigramme : Disque magnétique 67"/>
            <p:cNvSpPr/>
            <p:nvPr/>
          </p:nvSpPr>
          <p:spPr bwMode="gray">
            <a:xfrm>
              <a:off x="2216039" y="3138541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9" name="Organigramme : Disque magnétique 68"/>
            <p:cNvSpPr/>
            <p:nvPr/>
          </p:nvSpPr>
          <p:spPr bwMode="gray">
            <a:xfrm>
              <a:off x="2216039" y="3068353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70" name="Organigramme : Disque magnétique 69"/>
            <p:cNvSpPr/>
            <p:nvPr/>
          </p:nvSpPr>
          <p:spPr bwMode="gray">
            <a:xfrm>
              <a:off x="2216039" y="2990121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71" name="Organigramme : Disque magnétique 70"/>
            <p:cNvSpPr/>
            <p:nvPr/>
          </p:nvSpPr>
          <p:spPr bwMode="gray">
            <a:xfrm>
              <a:off x="2216039" y="2911889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74" name="Organigramme : Disque magnétique 73"/>
            <p:cNvSpPr/>
            <p:nvPr/>
          </p:nvSpPr>
          <p:spPr bwMode="gray">
            <a:xfrm>
              <a:off x="2216039" y="2828251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75" name="Organigramme : Disque magnétique 74"/>
            <p:cNvSpPr/>
            <p:nvPr/>
          </p:nvSpPr>
          <p:spPr bwMode="gray">
            <a:xfrm>
              <a:off x="2216039" y="2750019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76" name="Organigramme : Disque magnétique 75"/>
            <p:cNvSpPr/>
            <p:nvPr/>
          </p:nvSpPr>
          <p:spPr bwMode="gray">
            <a:xfrm>
              <a:off x="2216039" y="2671787"/>
              <a:ext cx="1080120" cy="144016"/>
            </a:xfrm>
            <a:prstGeom prst="flowChartMagneticDisk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fr-FR" sz="10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77" name="ZoneTexte 76"/>
            <p:cNvSpPr txBox="1"/>
            <p:nvPr/>
          </p:nvSpPr>
          <p:spPr bwMode="gray">
            <a:xfrm>
              <a:off x="1690210" y="2478900"/>
              <a:ext cx="2131776" cy="16268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 anchorCtr="0"/>
            <a:lstStyle>
              <a:defPPr>
                <a:defRPr lang="fr-FR"/>
              </a:defPPr>
              <a:lvl1pPr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  <a:defRPr sz="1400" kern="0">
                  <a:solidFill>
                    <a:srgbClr val="FFFFFF"/>
                  </a:solidFill>
                  <a:latin typeface="Verdana"/>
                </a:defRPr>
              </a:lvl1pPr>
            </a:lstStyle>
            <a:p>
              <a:r>
                <a:rPr lang="fr-FR" sz="1050" b="1" i="1" kern="1200" dirty="0">
                  <a:solidFill>
                    <a:schemeClr val="accent1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</a:t>
              </a:r>
              <a:r>
                <a:rPr lang="fr-FR" sz="1050" b="1" i="1" kern="1200" dirty="0" err="1">
                  <a:solidFill>
                    <a:schemeClr val="accent1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acklog</a:t>
              </a:r>
              <a:endParaRPr lang="fr-FR" sz="1050" b="1" i="1" kern="12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8" name="Groupe 7"/>
          <p:cNvGrpSpPr/>
          <p:nvPr/>
        </p:nvGrpSpPr>
        <p:grpSpPr>
          <a:xfrm>
            <a:off x="3625479" y="2682706"/>
            <a:ext cx="2024446" cy="1477148"/>
            <a:chOff x="3318114" y="3458809"/>
            <a:chExt cx="2024446" cy="1477148"/>
          </a:xfrm>
        </p:grpSpPr>
        <p:grpSp>
          <p:nvGrpSpPr>
            <p:cNvPr id="78" name="Groupe 77"/>
            <p:cNvGrpSpPr/>
            <p:nvPr/>
          </p:nvGrpSpPr>
          <p:grpSpPr>
            <a:xfrm>
              <a:off x="3318114" y="3458809"/>
              <a:ext cx="2024446" cy="1323887"/>
              <a:chOff x="1567967" y="2301957"/>
              <a:chExt cx="2376264" cy="1853385"/>
            </a:xfrm>
          </p:grpSpPr>
          <p:sp>
            <p:nvSpPr>
              <p:cNvPr id="79" name="Organigramme : Disque magnétique 78"/>
              <p:cNvSpPr/>
              <p:nvPr/>
            </p:nvSpPr>
            <p:spPr bwMode="gray">
              <a:xfrm>
                <a:off x="2216039" y="4011326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1" name="Organigramme : Disque magnétique 80"/>
              <p:cNvSpPr/>
              <p:nvPr/>
            </p:nvSpPr>
            <p:spPr bwMode="gray">
              <a:xfrm>
                <a:off x="2216039" y="3933094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2" name="Organigramme : Disque magnétique 81"/>
              <p:cNvSpPr/>
              <p:nvPr/>
            </p:nvSpPr>
            <p:spPr bwMode="gray">
              <a:xfrm>
                <a:off x="2216039" y="3854862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3" name="Organigramme : Disque magnétique 82"/>
              <p:cNvSpPr/>
              <p:nvPr/>
            </p:nvSpPr>
            <p:spPr bwMode="gray">
              <a:xfrm>
                <a:off x="2216039" y="3771224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4" name="Organigramme : Disque magnétique 83"/>
              <p:cNvSpPr/>
              <p:nvPr/>
            </p:nvSpPr>
            <p:spPr bwMode="gray">
              <a:xfrm>
                <a:off x="2216039" y="3692992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5" name="Organigramme : Disque magnétique 84"/>
              <p:cNvSpPr/>
              <p:nvPr/>
            </p:nvSpPr>
            <p:spPr bwMode="gray">
              <a:xfrm>
                <a:off x="2216039" y="3614760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6" name="Organigramme : Disque magnétique 85"/>
              <p:cNvSpPr/>
              <p:nvPr/>
            </p:nvSpPr>
            <p:spPr bwMode="gray">
              <a:xfrm>
                <a:off x="2216039" y="3535107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7" name="Organigramme : Disque magnétique 86"/>
              <p:cNvSpPr/>
              <p:nvPr/>
            </p:nvSpPr>
            <p:spPr bwMode="gray">
              <a:xfrm>
                <a:off x="2216039" y="3456875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9" name="Organigramme : Disque magnétique 88"/>
              <p:cNvSpPr/>
              <p:nvPr/>
            </p:nvSpPr>
            <p:spPr bwMode="gray">
              <a:xfrm>
                <a:off x="2216039" y="3378643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90" name="Organigramme : Disque magnétique 89"/>
              <p:cNvSpPr/>
              <p:nvPr/>
            </p:nvSpPr>
            <p:spPr bwMode="gray">
              <a:xfrm>
                <a:off x="2216039" y="3295005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92" name="Organigramme : Disque magnétique 91"/>
              <p:cNvSpPr/>
              <p:nvPr/>
            </p:nvSpPr>
            <p:spPr bwMode="gray">
              <a:xfrm>
                <a:off x="2216039" y="3216773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93" name="Organigramme : Disque magnétique 92"/>
              <p:cNvSpPr/>
              <p:nvPr/>
            </p:nvSpPr>
            <p:spPr bwMode="gray">
              <a:xfrm>
                <a:off x="2216039" y="3138541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94" name="Organigramme : Disque magnétique 93"/>
              <p:cNvSpPr/>
              <p:nvPr/>
            </p:nvSpPr>
            <p:spPr bwMode="gray">
              <a:xfrm>
                <a:off x="2216039" y="3068353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95" name="Organigramme : Disque magnétique 94"/>
              <p:cNvSpPr/>
              <p:nvPr/>
            </p:nvSpPr>
            <p:spPr bwMode="gray">
              <a:xfrm>
                <a:off x="2216039" y="2990121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96" name="Organigramme : Disque magnétique 95"/>
              <p:cNvSpPr/>
              <p:nvPr/>
            </p:nvSpPr>
            <p:spPr bwMode="gray">
              <a:xfrm>
                <a:off x="2216039" y="2911889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97" name="Organigramme : Disque magnétique 96"/>
              <p:cNvSpPr/>
              <p:nvPr/>
            </p:nvSpPr>
            <p:spPr bwMode="gray">
              <a:xfrm>
                <a:off x="2216039" y="2828251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98" name="Organigramme : Disque magnétique 97"/>
              <p:cNvSpPr/>
              <p:nvPr/>
            </p:nvSpPr>
            <p:spPr bwMode="gray">
              <a:xfrm>
                <a:off x="2216039" y="2750019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99" name="Organigramme : Disque magnétique 98"/>
              <p:cNvSpPr/>
              <p:nvPr/>
            </p:nvSpPr>
            <p:spPr bwMode="gray">
              <a:xfrm>
                <a:off x="2216039" y="2671787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02" name="ZoneTexte 101"/>
              <p:cNvSpPr txBox="1"/>
              <p:nvPr/>
            </p:nvSpPr>
            <p:spPr bwMode="gray">
              <a:xfrm>
                <a:off x="1567967" y="2301957"/>
                <a:ext cx="2376264" cy="3877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fr-FR"/>
                </a:defPPr>
                <a:lvl1pPr marR="0" fontAlgn="auto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  <a:defRPr sz="1200" i="1">
                    <a:solidFill>
                      <a:schemeClr val="accent1">
                        <a:lumMod val="7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</a:lstStyle>
              <a:p>
                <a:pPr algn="ctr"/>
                <a:r>
                  <a:rPr lang="fr-FR" sz="900" dirty="0" smtClean="0"/>
                  <a:t>Release </a:t>
                </a:r>
                <a:r>
                  <a:rPr lang="fr-FR" sz="900" dirty="0" err="1" smtClean="0"/>
                  <a:t>Backlog</a:t>
                </a:r>
                <a:r>
                  <a:rPr lang="fr-FR" sz="900" dirty="0" smtClean="0"/>
                  <a:t> </a:t>
                </a:r>
                <a:br>
                  <a:rPr lang="fr-FR" sz="900" dirty="0" smtClean="0"/>
                </a:br>
                <a:r>
                  <a:rPr lang="fr-FR" sz="900" dirty="0" err="1" smtClean="0"/>
                  <a:t>Functional</a:t>
                </a:r>
                <a:r>
                  <a:rPr lang="fr-FR" sz="900" dirty="0" smtClean="0"/>
                  <a:t> version 1.00.00</a:t>
                </a:r>
                <a:endParaRPr lang="fr-FR" sz="900" dirty="0"/>
              </a:p>
            </p:txBody>
          </p:sp>
        </p:grpSp>
        <p:sp>
          <p:nvSpPr>
            <p:cNvPr id="103" name="ZoneTexte 102"/>
            <p:cNvSpPr txBox="1"/>
            <p:nvPr/>
          </p:nvSpPr>
          <p:spPr bwMode="gray">
            <a:xfrm>
              <a:off x="3318114" y="4812846"/>
              <a:ext cx="202444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fr-FR"/>
              </a:defPPr>
              <a:lvl1pPr marR="0" fontAlgn="auto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  <a:defRPr sz="1200" i="1">
                  <a:solidFill>
                    <a:schemeClr val="accent1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ctr"/>
              <a:r>
                <a:rPr lang="fr-FR" sz="800" b="1" dirty="0" smtClean="0"/>
                <a:t>Release 1.00.00.00</a:t>
              </a:r>
              <a:endParaRPr lang="fr-FR" sz="800" b="1" dirty="0"/>
            </a:p>
          </p:txBody>
        </p:sp>
      </p:grpSp>
      <p:grpSp>
        <p:nvGrpSpPr>
          <p:cNvPr id="9" name="Groupe 8"/>
          <p:cNvGrpSpPr/>
          <p:nvPr/>
        </p:nvGrpSpPr>
        <p:grpSpPr>
          <a:xfrm>
            <a:off x="6093285" y="2682706"/>
            <a:ext cx="2024446" cy="1476553"/>
            <a:chOff x="6419654" y="3459404"/>
            <a:chExt cx="2024446" cy="1476553"/>
          </a:xfrm>
        </p:grpSpPr>
        <p:grpSp>
          <p:nvGrpSpPr>
            <p:cNvPr id="104" name="Groupe 103"/>
            <p:cNvGrpSpPr/>
            <p:nvPr/>
          </p:nvGrpSpPr>
          <p:grpSpPr>
            <a:xfrm>
              <a:off x="6419654" y="3459404"/>
              <a:ext cx="2024446" cy="1323887"/>
              <a:chOff x="1567967" y="2301957"/>
              <a:chExt cx="2376264" cy="1853385"/>
            </a:xfrm>
          </p:grpSpPr>
          <p:sp>
            <p:nvSpPr>
              <p:cNvPr id="105" name="Organigramme : Disque magnétique 104"/>
              <p:cNvSpPr/>
              <p:nvPr/>
            </p:nvSpPr>
            <p:spPr bwMode="gray">
              <a:xfrm>
                <a:off x="2216039" y="4011326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06" name="Organigramme : Disque magnétique 105"/>
              <p:cNvSpPr/>
              <p:nvPr/>
            </p:nvSpPr>
            <p:spPr bwMode="gray">
              <a:xfrm>
                <a:off x="2216039" y="3933094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07" name="Organigramme : Disque magnétique 106"/>
              <p:cNvSpPr/>
              <p:nvPr/>
            </p:nvSpPr>
            <p:spPr bwMode="gray">
              <a:xfrm>
                <a:off x="2216039" y="3854862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08" name="Organigramme : Disque magnétique 107"/>
              <p:cNvSpPr/>
              <p:nvPr/>
            </p:nvSpPr>
            <p:spPr bwMode="gray">
              <a:xfrm>
                <a:off x="2216039" y="3771224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09" name="Organigramme : Disque magnétique 108"/>
              <p:cNvSpPr/>
              <p:nvPr/>
            </p:nvSpPr>
            <p:spPr bwMode="gray">
              <a:xfrm>
                <a:off x="2216039" y="3692992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10" name="Organigramme : Disque magnétique 109"/>
              <p:cNvSpPr/>
              <p:nvPr/>
            </p:nvSpPr>
            <p:spPr bwMode="gray">
              <a:xfrm>
                <a:off x="2216039" y="3614760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11" name="Organigramme : Disque magnétique 110"/>
              <p:cNvSpPr/>
              <p:nvPr/>
            </p:nvSpPr>
            <p:spPr bwMode="gray">
              <a:xfrm>
                <a:off x="2216039" y="3535107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12" name="Organigramme : Disque magnétique 111"/>
              <p:cNvSpPr/>
              <p:nvPr/>
            </p:nvSpPr>
            <p:spPr bwMode="gray">
              <a:xfrm>
                <a:off x="2216039" y="3456875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13" name="Organigramme : Disque magnétique 112"/>
              <p:cNvSpPr/>
              <p:nvPr/>
            </p:nvSpPr>
            <p:spPr bwMode="gray">
              <a:xfrm>
                <a:off x="2216039" y="3378643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14" name="Organigramme : Disque magnétique 113"/>
              <p:cNvSpPr/>
              <p:nvPr/>
            </p:nvSpPr>
            <p:spPr bwMode="gray">
              <a:xfrm>
                <a:off x="2216039" y="3295005"/>
                <a:ext cx="1080120" cy="144016"/>
              </a:xfrm>
              <a:prstGeom prst="flowChartMagneticDisk">
                <a:avLst/>
              </a:prstGeom>
              <a:solidFill>
                <a:schemeClr val="tx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15" name="Organigramme : Disque magnétique 114"/>
              <p:cNvSpPr/>
              <p:nvPr/>
            </p:nvSpPr>
            <p:spPr bwMode="gray">
              <a:xfrm>
                <a:off x="2216039" y="3216773"/>
                <a:ext cx="1080120" cy="144016"/>
              </a:xfrm>
              <a:prstGeom prst="flowChartMagneticDisk">
                <a:avLst/>
              </a:prstGeom>
              <a:solidFill>
                <a:schemeClr val="tx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16" name="Organigramme : Disque magnétique 115"/>
              <p:cNvSpPr/>
              <p:nvPr/>
            </p:nvSpPr>
            <p:spPr bwMode="gray">
              <a:xfrm>
                <a:off x="2216039" y="3138541"/>
                <a:ext cx="1080120" cy="144016"/>
              </a:xfrm>
              <a:prstGeom prst="flowChartMagneticDisk">
                <a:avLst/>
              </a:prstGeom>
              <a:solidFill>
                <a:schemeClr val="tx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17" name="Organigramme : Disque magnétique 116"/>
              <p:cNvSpPr/>
              <p:nvPr/>
            </p:nvSpPr>
            <p:spPr bwMode="gray">
              <a:xfrm>
                <a:off x="2216039" y="3068353"/>
                <a:ext cx="1080120" cy="144016"/>
              </a:xfrm>
              <a:prstGeom prst="flowChartMagneticDisk">
                <a:avLst/>
              </a:prstGeom>
              <a:solidFill>
                <a:schemeClr val="tx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18" name="Organigramme : Disque magnétique 117"/>
              <p:cNvSpPr/>
              <p:nvPr/>
            </p:nvSpPr>
            <p:spPr bwMode="gray">
              <a:xfrm>
                <a:off x="2216039" y="2990121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19" name="Organigramme : Disque magnétique 118"/>
              <p:cNvSpPr/>
              <p:nvPr/>
            </p:nvSpPr>
            <p:spPr bwMode="gray">
              <a:xfrm>
                <a:off x="2216039" y="2911889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26" name="Organigramme : Disque magnétique 125"/>
              <p:cNvSpPr/>
              <p:nvPr/>
            </p:nvSpPr>
            <p:spPr bwMode="gray">
              <a:xfrm>
                <a:off x="2216039" y="2828251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27" name="Organigramme : Disque magnétique 126"/>
              <p:cNvSpPr/>
              <p:nvPr/>
            </p:nvSpPr>
            <p:spPr bwMode="gray">
              <a:xfrm>
                <a:off x="2216039" y="2750019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28" name="Organigramme : Disque magnétique 127"/>
              <p:cNvSpPr/>
              <p:nvPr/>
            </p:nvSpPr>
            <p:spPr bwMode="gray">
              <a:xfrm>
                <a:off x="2216039" y="2671787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29" name="ZoneTexte 128"/>
              <p:cNvSpPr txBox="1"/>
              <p:nvPr/>
            </p:nvSpPr>
            <p:spPr bwMode="gray">
              <a:xfrm>
                <a:off x="1567967" y="2301957"/>
                <a:ext cx="2376264" cy="3877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fr-FR"/>
                </a:defPPr>
                <a:lvl1pPr marR="0" fontAlgn="auto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  <a:defRPr sz="1200" i="1">
                    <a:solidFill>
                      <a:schemeClr val="accent1">
                        <a:lumMod val="7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</a:lstStyle>
              <a:p>
                <a:pPr algn="ctr"/>
                <a:r>
                  <a:rPr lang="fr-FR" sz="900" dirty="0" smtClean="0"/>
                  <a:t>Release </a:t>
                </a:r>
                <a:r>
                  <a:rPr lang="fr-FR" sz="900" dirty="0" err="1" smtClean="0"/>
                  <a:t>Backlog</a:t>
                </a:r>
                <a:r>
                  <a:rPr lang="fr-FR" sz="900" dirty="0" smtClean="0"/>
                  <a:t> </a:t>
                </a:r>
                <a:br>
                  <a:rPr lang="fr-FR" sz="900" dirty="0" smtClean="0"/>
                </a:br>
                <a:r>
                  <a:rPr lang="fr-FR" sz="900" dirty="0" err="1" smtClean="0"/>
                  <a:t>Functional</a:t>
                </a:r>
                <a:r>
                  <a:rPr lang="fr-FR" sz="900" dirty="0" smtClean="0"/>
                  <a:t> version 1.01.00</a:t>
                </a:r>
                <a:endParaRPr lang="fr-FR" sz="900" dirty="0"/>
              </a:p>
            </p:txBody>
          </p:sp>
        </p:grpSp>
        <p:sp>
          <p:nvSpPr>
            <p:cNvPr id="134" name="ZoneTexte 133"/>
            <p:cNvSpPr txBox="1"/>
            <p:nvPr/>
          </p:nvSpPr>
          <p:spPr bwMode="gray">
            <a:xfrm>
              <a:off x="6419654" y="4812846"/>
              <a:ext cx="202444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fr-FR"/>
              </a:defPPr>
              <a:lvl1pPr marR="0" fontAlgn="auto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  <a:defRPr sz="1200" i="1">
                  <a:solidFill>
                    <a:schemeClr val="accent1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ctr"/>
              <a:r>
                <a:rPr lang="fr-FR" sz="800" b="1" dirty="0" smtClean="0"/>
                <a:t>Release 1.01.00.00</a:t>
              </a:r>
              <a:endParaRPr lang="fr-FR" sz="800" b="1" dirty="0"/>
            </a:p>
          </p:txBody>
        </p:sp>
      </p:grpSp>
      <p:cxnSp>
        <p:nvCxnSpPr>
          <p:cNvPr id="5" name="Connecteur en angle 4"/>
          <p:cNvCxnSpPr>
            <a:stCxn id="57" idx="3"/>
            <a:endCxn id="102" idx="0"/>
          </p:cNvCxnSpPr>
          <p:nvPr/>
        </p:nvCxnSpPr>
        <p:spPr>
          <a:xfrm rot="5400000">
            <a:off x="5056966" y="1843668"/>
            <a:ext cx="419774" cy="1258302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en angle 6"/>
          <p:cNvCxnSpPr>
            <a:stCxn id="57" idx="3"/>
            <a:endCxn id="129" idx="0"/>
          </p:cNvCxnSpPr>
          <p:nvPr/>
        </p:nvCxnSpPr>
        <p:spPr>
          <a:xfrm rot="16200000" flipH="1">
            <a:off x="6290869" y="1868067"/>
            <a:ext cx="419774" cy="1209504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6" name="Groupe 135"/>
          <p:cNvGrpSpPr/>
          <p:nvPr/>
        </p:nvGrpSpPr>
        <p:grpSpPr>
          <a:xfrm>
            <a:off x="8135920" y="4653136"/>
            <a:ext cx="2024446" cy="1476553"/>
            <a:chOff x="6419654" y="3459404"/>
            <a:chExt cx="2024446" cy="1476553"/>
          </a:xfrm>
        </p:grpSpPr>
        <p:grpSp>
          <p:nvGrpSpPr>
            <p:cNvPr id="139" name="Groupe 138"/>
            <p:cNvGrpSpPr/>
            <p:nvPr/>
          </p:nvGrpSpPr>
          <p:grpSpPr>
            <a:xfrm>
              <a:off x="6419654" y="3459404"/>
              <a:ext cx="2024446" cy="1323887"/>
              <a:chOff x="1567967" y="2301957"/>
              <a:chExt cx="2376264" cy="1853385"/>
            </a:xfrm>
          </p:grpSpPr>
          <p:sp>
            <p:nvSpPr>
              <p:cNvPr id="141" name="Organigramme : Disque magnétique 140"/>
              <p:cNvSpPr/>
              <p:nvPr/>
            </p:nvSpPr>
            <p:spPr bwMode="gray">
              <a:xfrm>
                <a:off x="2216039" y="4011326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42" name="Organigramme : Disque magnétique 141"/>
              <p:cNvSpPr/>
              <p:nvPr/>
            </p:nvSpPr>
            <p:spPr bwMode="gray">
              <a:xfrm>
                <a:off x="2216039" y="3933094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43" name="Organigramme : Disque magnétique 142"/>
              <p:cNvSpPr/>
              <p:nvPr/>
            </p:nvSpPr>
            <p:spPr bwMode="gray">
              <a:xfrm>
                <a:off x="2216039" y="3854862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44" name="Organigramme : Disque magnétique 143"/>
              <p:cNvSpPr/>
              <p:nvPr/>
            </p:nvSpPr>
            <p:spPr bwMode="gray">
              <a:xfrm>
                <a:off x="2216039" y="3771224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45" name="Organigramme : Disque magnétique 144"/>
              <p:cNvSpPr/>
              <p:nvPr/>
            </p:nvSpPr>
            <p:spPr bwMode="gray">
              <a:xfrm>
                <a:off x="2216039" y="3692992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46" name="Organigramme : Disque magnétique 145"/>
              <p:cNvSpPr/>
              <p:nvPr/>
            </p:nvSpPr>
            <p:spPr bwMode="gray">
              <a:xfrm>
                <a:off x="2216039" y="3614760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47" name="Organigramme : Disque magnétique 146"/>
              <p:cNvSpPr/>
              <p:nvPr/>
            </p:nvSpPr>
            <p:spPr bwMode="gray">
              <a:xfrm>
                <a:off x="2216039" y="3535107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48" name="Organigramme : Disque magnétique 147"/>
              <p:cNvSpPr/>
              <p:nvPr/>
            </p:nvSpPr>
            <p:spPr bwMode="gray">
              <a:xfrm>
                <a:off x="2216039" y="3456875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49" name="Organigramme : Disque magnétique 148"/>
              <p:cNvSpPr/>
              <p:nvPr/>
            </p:nvSpPr>
            <p:spPr bwMode="gray">
              <a:xfrm>
                <a:off x="2216039" y="3378643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0" name="Organigramme : Disque magnétique 149"/>
              <p:cNvSpPr/>
              <p:nvPr/>
            </p:nvSpPr>
            <p:spPr bwMode="gray">
              <a:xfrm>
                <a:off x="2216039" y="3295005"/>
                <a:ext cx="1080120" cy="144016"/>
              </a:xfrm>
              <a:prstGeom prst="flowChartMagneticDisk">
                <a:avLst/>
              </a:prstGeom>
              <a:solidFill>
                <a:schemeClr val="tx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1" name="Organigramme : Disque magnétique 150"/>
              <p:cNvSpPr/>
              <p:nvPr/>
            </p:nvSpPr>
            <p:spPr bwMode="gray">
              <a:xfrm>
                <a:off x="2216039" y="3216773"/>
                <a:ext cx="1080120" cy="144016"/>
              </a:xfrm>
              <a:prstGeom prst="flowChartMagneticDisk">
                <a:avLst/>
              </a:prstGeom>
              <a:solidFill>
                <a:schemeClr val="tx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2" name="Organigramme : Disque magnétique 151"/>
              <p:cNvSpPr/>
              <p:nvPr/>
            </p:nvSpPr>
            <p:spPr bwMode="gray">
              <a:xfrm>
                <a:off x="2216039" y="3138541"/>
                <a:ext cx="1080120" cy="144016"/>
              </a:xfrm>
              <a:prstGeom prst="flowChartMagneticDisk">
                <a:avLst/>
              </a:prstGeom>
              <a:solidFill>
                <a:schemeClr val="tx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3" name="Organigramme : Disque magnétique 152"/>
              <p:cNvSpPr/>
              <p:nvPr/>
            </p:nvSpPr>
            <p:spPr bwMode="gray">
              <a:xfrm>
                <a:off x="2216039" y="3068353"/>
                <a:ext cx="1080120" cy="144016"/>
              </a:xfrm>
              <a:prstGeom prst="flowChartMagneticDisk">
                <a:avLst/>
              </a:prstGeom>
              <a:solidFill>
                <a:schemeClr val="tx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4" name="Organigramme : Disque magnétique 153"/>
              <p:cNvSpPr/>
              <p:nvPr/>
            </p:nvSpPr>
            <p:spPr bwMode="gray">
              <a:xfrm>
                <a:off x="2216039" y="2990121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5" name="Organigramme : Disque magnétique 154"/>
              <p:cNvSpPr/>
              <p:nvPr/>
            </p:nvSpPr>
            <p:spPr bwMode="gray">
              <a:xfrm>
                <a:off x="2216039" y="2911889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6" name="Organigramme : Disque magnétique 155"/>
              <p:cNvSpPr/>
              <p:nvPr/>
            </p:nvSpPr>
            <p:spPr bwMode="gray">
              <a:xfrm>
                <a:off x="2216039" y="2828251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7" name="Organigramme : Disque magnétique 156"/>
              <p:cNvSpPr/>
              <p:nvPr/>
            </p:nvSpPr>
            <p:spPr bwMode="gray">
              <a:xfrm>
                <a:off x="2216039" y="2750019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8" name="Organigramme : Disque magnétique 157"/>
              <p:cNvSpPr/>
              <p:nvPr/>
            </p:nvSpPr>
            <p:spPr bwMode="gray">
              <a:xfrm>
                <a:off x="2216039" y="2671787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59" name="ZoneTexte 158"/>
              <p:cNvSpPr txBox="1"/>
              <p:nvPr/>
            </p:nvSpPr>
            <p:spPr bwMode="gray">
              <a:xfrm>
                <a:off x="1567967" y="2301957"/>
                <a:ext cx="2376264" cy="3877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fr-FR"/>
                </a:defPPr>
                <a:lvl1pPr marR="0" fontAlgn="auto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  <a:defRPr sz="1200" i="1">
                    <a:solidFill>
                      <a:schemeClr val="accent1">
                        <a:lumMod val="7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</a:lstStyle>
              <a:p>
                <a:pPr algn="ctr"/>
                <a:r>
                  <a:rPr lang="fr-FR" sz="900" dirty="0" smtClean="0"/>
                  <a:t>Release </a:t>
                </a:r>
                <a:r>
                  <a:rPr lang="fr-FR" sz="900" dirty="0" err="1" smtClean="0"/>
                  <a:t>Backlog</a:t>
                </a:r>
                <a:r>
                  <a:rPr lang="fr-FR" sz="900" dirty="0" smtClean="0"/>
                  <a:t> </a:t>
                </a:r>
                <a:br>
                  <a:rPr lang="fr-FR" sz="900" dirty="0" smtClean="0"/>
                </a:br>
                <a:r>
                  <a:rPr lang="fr-FR" sz="900" dirty="0" err="1" smtClean="0"/>
                  <a:t>Functional</a:t>
                </a:r>
                <a:r>
                  <a:rPr lang="fr-FR" sz="900" dirty="0" smtClean="0"/>
                  <a:t> version 1.01.00</a:t>
                </a:r>
                <a:endParaRPr lang="fr-FR" sz="900" dirty="0"/>
              </a:p>
            </p:txBody>
          </p:sp>
        </p:grpSp>
        <p:sp>
          <p:nvSpPr>
            <p:cNvPr id="140" name="ZoneTexte 139"/>
            <p:cNvSpPr txBox="1"/>
            <p:nvPr/>
          </p:nvSpPr>
          <p:spPr bwMode="gray">
            <a:xfrm>
              <a:off x="6419654" y="4812846"/>
              <a:ext cx="202444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fr-FR"/>
              </a:defPPr>
              <a:lvl1pPr marR="0" fontAlgn="auto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  <a:defRPr sz="1200" i="1">
                  <a:solidFill>
                    <a:schemeClr val="accent1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ctr"/>
              <a:r>
                <a:rPr lang="fr-FR" sz="800" b="1" dirty="0" smtClean="0"/>
                <a:t>Release 1.01.00.01</a:t>
              </a:r>
              <a:endParaRPr lang="fr-FR" sz="800" b="1" dirty="0"/>
            </a:p>
          </p:txBody>
        </p:sp>
      </p:grpSp>
      <p:cxnSp>
        <p:nvCxnSpPr>
          <p:cNvPr id="18" name="Connecteur en angle 17"/>
          <p:cNvCxnSpPr>
            <a:stCxn id="134" idx="2"/>
            <a:endCxn id="159" idx="0"/>
          </p:cNvCxnSpPr>
          <p:nvPr/>
        </p:nvCxnSpPr>
        <p:spPr>
          <a:xfrm rot="16200000" flipH="1">
            <a:off x="7879887" y="3384879"/>
            <a:ext cx="493877" cy="204263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Connecteur en angle 159"/>
          <p:cNvCxnSpPr>
            <a:stCxn id="103" idx="2"/>
            <a:endCxn id="182" idx="0"/>
          </p:cNvCxnSpPr>
          <p:nvPr/>
        </p:nvCxnSpPr>
        <p:spPr>
          <a:xfrm rot="5400000">
            <a:off x="3466082" y="3481516"/>
            <a:ext cx="493282" cy="184995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1" name="Groupe 160"/>
          <p:cNvGrpSpPr/>
          <p:nvPr/>
        </p:nvGrpSpPr>
        <p:grpSpPr>
          <a:xfrm>
            <a:off x="1775520" y="4653136"/>
            <a:ext cx="2024446" cy="1477148"/>
            <a:chOff x="3318114" y="3458809"/>
            <a:chExt cx="2024446" cy="1477148"/>
          </a:xfrm>
        </p:grpSpPr>
        <p:grpSp>
          <p:nvGrpSpPr>
            <p:cNvPr id="162" name="Groupe 161"/>
            <p:cNvGrpSpPr/>
            <p:nvPr/>
          </p:nvGrpSpPr>
          <p:grpSpPr>
            <a:xfrm>
              <a:off x="3318114" y="3458809"/>
              <a:ext cx="2024446" cy="1323887"/>
              <a:chOff x="1567967" y="2301957"/>
              <a:chExt cx="2376264" cy="1853385"/>
            </a:xfrm>
          </p:grpSpPr>
          <p:sp>
            <p:nvSpPr>
              <p:cNvPr id="164" name="Organigramme : Disque magnétique 163"/>
              <p:cNvSpPr/>
              <p:nvPr/>
            </p:nvSpPr>
            <p:spPr bwMode="gray">
              <a:xfrm>
                <a:off x="2216039" y="4011326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65" name="Organigramme : Disque magnétique 164"/>
              <p:cNvSpPr/>
              <p:nvPr/>
            </p:nvSpPr>
            <p:spPr bwMode="gray">
              <a:xfrm>
                <a:off x="2216039" y="3933094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5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66" name="Organigramme : Disque magnétique 165"/>
              <p:cNvSpPr/>
              <p:nvPr/>
            </p:nvSpPr>
            <p:spPr bwMode="gray">
              <a:xfrm>
                <a:off x="2216039" y="3854862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67" name="Organigramme : Disque magnétique 166"/>
              <p:cNvSpPr/>
              <p:nvPr/>
            </p:nvSpPr>
            <p:spPr bwMode="gray">
              <a:xfrm>
                <a:off x="2216039" y="3771224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68" name="Organigramme : Disque magnétique 167"/>
              <p:cNvSpPr/>
              <p:nvPr/>
            </p:nvSpPr>
            <p:spPr bwMode="gray">
              <a:xfrm>
                <a:off x="2216039" y="3692992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5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69" name="Organigramme : Disque magnétique 168"/>
              <p:cNvSpPr/>
              <p:nvPr/>
            </p:nvSpPr>
            <p:spPr bwMode="gray">
              <a:xfrm>
                <a:off x="2216039" y="3614760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0" name="Organigramme : Disque magnétique 169"/>
              <p:cNvSpPr/>
              <p:nvPr/>
            </p:nvSpPr>
            <p:spPr bwMode="gray">
              <a:xfrm>
                <a:off x="2216039" y="3535107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1" name="Organigramme : Disque magnétique 170"/>
              <p:cNvSpPr/>
              <p:nvPr/>
            </p:nvSpPr>
            <p:spPr bwMode="gray">
              <a:xfrm>
                <a:off x="2216039" y="3456875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5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2" name="Organigramme : Disque magnétique 171"/>
              <p:cNvSpPr/>
              <p:nvPr/>
            </p:nvSpPr>
            <p:spPr bwMode="gray">
              <a:xfrm>
                <a:off x="2216039" y="3378643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3" name="Organigramme : Disque magnétique 172"/>
              <p:cNvSpPr/>
              <p:nvPr/>
            </p:nvSpPr>
            <p:spPr bwMode="gray">
              <a:xfrm>
                <a:off x="2216039" y="3295005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5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4" name="Organigramme : Disque magnétique 173"/>
              <p:cNvSpPr/>
              <p:nvPr/>
            </p:nvSpPr>
            <p:spPr bwMode="gray">
              <a:xfrm>
                <a:off x="2216039" y="3216773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5" name="Organigramme : Disque magnétique 174"/>
              <p:cNvSpPr/>
              <p:nvPr/>
            </p:nvSpPr>
            <p:spPr bwMode="gray">
              <a:xfrm>
                <a:off x="2216039" y="3138541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6" name="Organigramme : Disque magnétique 175"/>
              <p:cNvSpPr/>
              <p:nvPr/>
            </p:nvSpPr>
            <p:spPr bwMode="gray">
              <a:xfrm>
                <a:off x="2216039" y="3068353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5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7" name="Organigramme : Disque magnétique 176"/>
              <p:cNvSpPr/>
              <p:nvPr/>
            </p:nvSpPr>
            <p:spPr bwMode="gray">
              <a:xfrm>
                <a:off x="2216039" y="2990121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8" name="Organigramme : Disque magnétique 177"/>
              <p:cNvSpPr/>
              <p:nvPr/>
            </p:nvSpPr>
            <p:spPr bwMode="gray">
              <a:xfrm>
                <a:off x="2216039" y="2911889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5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79" name="Organigramme : Disque magnétique 178"/>
              <p:cNvSpPr/>
              <p:nvPr/>
            </p:nvSpPr>
            <p:spPr bwMode="gray">
              <a:xfrm>
                <a:off x="2216039" y="2828251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80" name="Organigramme : Disque magnétique 179"/>
              <p:cNvSpPr/>
              <p:nvPr/>
            </p:nvSpPr>
            <p:spPr bwMode="gray">
              <a:xfrm>
                <a:off x="2216039" y="2750019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5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81" name="Organigramme : Disque magnétique 180"/>
              <p:cNvSpPr/>
              <p:nvPr/>
            </p:nvSpPr>
            <p:spPr bwMode="gray">
              <a:xfrm>
                <a:off x="2216039" y="2671787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5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82" name="ZoneTexte 181"/>
              <p:cNvSpPr txBox="1"/>
              <p:nvPr/>
            </p:nvSpPr>
            <p:spPr bwMode="gray">
              <a:xfrm>
                <a:off x="1567967" y="2301957"/>
                <a:ext cx="2376264" cy="3877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fr-FR"/>
                </a:defPPr>
                <a:lvl1pPr marR="0" fontAlgn="auto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  <a:defRPr sz="1200" i="1">
                    <a:solidFill>
                      <a:schemeClr val="accent1">
                        <a:lumMod val="7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</a:lstStyle>
              <a:p>
                <a:pPr algn="ctr"/>
                <a:r>
                  <a:rPr lang="fr-FR" sz="900" dirty="0" smtClean="0"/>
                  <a:t>Release </a:t>
                </a:r>
                <a:r>
                  <a:rPr lang="fr-FR" sz="900" dirty="0" err="1" smtClean="0"/>
                  <a:t>Backlog</a:t>
                </a:r>
                <a:r>
                  <a:rPr lang="fr-FR" sz="900" dirty="0" smtClean="0"/>
                  <a:t> </a:t>
                </a:r>
                <a:br>
                  <a:rPr lang="fr-FR" sz="900" dirty="0" smtClean="0"/>
                </a:br>
                <a:r>
                  <a:rPr lang="fr-FR" sz="900" dirty="0" err="1" smtClean="0"/>
                  <a:t>Functional</a:t>
                </a:r>
                <a:r>
                  <a:rPr lang="fr-FR" sz="900" dirty="0" smtClean="0"/>
                  <a:t> version 1.00.01</a:t>
                </a:r>
                <a:endParaRPr lang="fr-FR" sz="900" dirty="0"/>
              </a:p>
            </p:txBody>
          </p:sp>
        </p:grpSp>
        <p:sp>
          <p:nvSpPr>
            <p:cNvPr id="163" name="ZoneTexte 162"/>
            <p:cNvSpPr txBox="1"/>
            <p:nvPr/>
          </p:nvSpPr>
          <p:spPr bwMode="gray">
            <a:xfrm>
              <a:off x="3318114" y="4812846"/>
              <a:ext cx="202444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fr-FR"/>
              </a:defPPr>
              <a:lvl1pPr marR="0" fontAlgn="auto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  <a:defRPr sz="1200" i="1">
                  <a:solidFill>
                    <a:schemeClr val="accent1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ctr"/>
              <a:r>
                <a:rPr lang="fr-FR" sz="800" b="1" dirty="0" smtClean="0"/>
                <a:t>Release 1.00.01.00</a:t>
              </a:r>
              <a:endParaRPr lang="fr-FR" sz="800" b="1" dirty="0"/>
            </a:p>
          </p:txBody>
        </p:sp>
      </p:grpSp>
      <p:grpSp>
        <p:nvGrpSpPr>
          <p:cNvPr id="183" name="Groupe 182"/>
          <p:cNvGrpSpPr/>
          <p:nvPr/>
        </p:nvGrpSpPr>
        <p:grpSpPr>
          <a:xfrm>
            <a:off x="5031243" y="4653136"/>
            <a:ext cx="2024446" cy="1477148"/>
            <a:chOff x="3318114" y="3458809"/>
            <a:chExt cx="2024446" cy="1477148"/>
          </a:xfrm>
        </p:grpSpPr>
        <p:grpSp>
          <p:nvGrpSpPr>
            <p:cNvPr id="184" name="Groupe 183"/>
            <p:cNvGrpSpPr/>
            <p:nvPr/>
          </p:nvGrpSpPr>
          <p:grpSpPr>
            <a:xfrm>
              <a:off x="3318114" y="3458809"/>
              <a:ext cx="2024446" cy="1323887"/>
              <a:chOff x="1567967" y="2301957"/>
              <a:chExt cx="2376264" cy="1853385"/>
            </a:xfrm>
          </p:grpSpPr>
          <p:sp>
            <p:nvSpPr>
              <p:cNvPr id="186" name="Organigramme : Disque magnétique 185"/>
              <p:cNvSpPr/>
              <p:nvPr/>
            </p:nvSpPr>
            <p:spPr bwMode="gray">
              <a:xfrm>
                <a:off x="2216039" y="4011326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87" name="Organigramme : Disque magnétique 186"/>
              <p:cNvSpPr/>
              <p:nvPr/>
            </p:nvSpPr>
            <p:spPr bwMode="gray">
              <a:xfrm>
                <a:off x="2216039" y="3933094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88" name="Organigramme : Disque magnétique 187"/>
              <p:cNvSpPr/>
              <p:nvPr/>
            </p:nvSpPr>
            <p:spPr bwMode="gray">
              <a:xfrm>
                <a:off x="2216039" y="3854862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89" name="Organigramme : Disque magnétique 188"/>
              <p:cNvSpPr/>
              <p:nvPr/>
            </p:nvSpPr>
            <p:spPr bwMode="gray">
              <a:xfrm>
                <a:off x="2216039" y="3771224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90" name="Organigramme : Disque magnétique 189"/>
              <p:cNvSpPr/>
              <p:nvPr/>
            </p:nvSpPr>
            <p:spPr bwMode="gray">
              <a:xfrm>
                <a:off x="2216039" y="3692992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91" name="Organigramme : Disque magnétique 190"/>
              <p:cNvSpPr/>
              <p:nvPr/>
            </p:nvSpPr>
            <p:spPr bwMode="gray">
              <a:xfrm>
                <a:off x="2216039" y="3614760"/>
                <a:ext cx="1080120" cy="144016"/>
              </a:xfrm>
              <a:prstGeom prst="flowChartMagneticDisk">
                <a:avLst/>
              </a:prstGeom>
              <a:solidFill>
                <a:schemeClr val="bg2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92" name="Organigramme : Disque magnétique 191"/>
              <p:cNvSpPr/>
              <p:nvPr/>
            </p:nvSpPr>
            <p:spPr bwMode="gray">
              <a:xfrm>
                <a:off x="2216039" y="3535107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93" name="Organigramme : Disque magnétique 192"/>
              <p:cNvSpPr/>
              <p:nvPr/>
            </p:nvSpPr>
            <p:spPr bwMode="gray">
              <a:xfrm>
                <a:off x="2216039" y="3456875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94" name="Organigramme : Disque magnétique 193"/>
              <p:cNvSpPr/>
              <p:nvPr/>
            </p:nvSpPr>
            <p:spPr bwMode="gray">
              <a:xfrm>
                <a:off x="2216039" y="3378643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95" name="Organigramme : Disque magnétique 194"/>
              <p:cNvSpPr/>
              <p:nvPr/>
            </p:nvSpPr>
            <p:spPr bwMode="gray">
              <a:xfrm>
                <a:off x="2216039" y="3295005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96" name="Organigramme : Disque magnétique 195"/>
              <p:cNvSpPr/>
              <p:nvPr/>
            </p:nvSpPr>
            <p:spPr bwMode="gray">
              <a:xfrm>
                <a:off x="2216039" y="3216773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97" name="Organigramme : Disque magnétique 196"/>
              <p:cNvSpPr/>
              <p:nvPr/>
            </p:nvSpPr>
            <p:spPr bwMode="gray">
              <a:xfrm>
                <a:off x="2216039" y="3138541"/>
                <a:ext cx="1080120" cy="144016"/>
              </a:xfrm>
              <a:prstGeom prst="flowChartMagneticDisk">
                <a:avLst/>
              </a:prstGeom>
              <a:solidFill>
                <a:schemeClr val="accent4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98" name="Organigramme : Disque magnétique 197"/>
              <p:cNvSpPr/>
              <p:nvPr/>
            </p:nvSpPr>
            <p:spPr bwMode="gray">
              <a:xfrm>
                <a:off x="2216039" y="3068353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99" name="Organigramme : Disque magnétique 198"/>
              <p:cNvSpPr/>
              <p:nvPr/>
            </p:nvSpPr>
            <p:spPr bwMode="gray">
              <a:xfrm>
                <a:off x="2216039" y="2990121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200" name="Organigramme : Disque magnétique 199"/>
              <p:cNvSpPr/>
              <p:nvPr/>
            </p:nvSpPr>
            <p:spPr bwMode="gray">
              <a:xfrm>
                <a:off x="2216039" y="2911889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201" name="Organigramme : Disque magnétique 200"/>
              <p:cNvSpPr/>
              <p:nvPr/>
            </p:nvSpPr>
            <p:spPr bwMode="gray">
              <a:xfrm>
                <a:off x="2216039" y="2828251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202" name="Organigramme : Disque magnétique 201"/>
              <p:cNvSpPr/>
              <p:nvPr/>
            </p:nvSpPr>
            <p:spPr bwMode="gray">
              <a:xfrm>
                <a:off x="2216039" y="2750019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75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203" name="Organigramme : Disque magnétique 202"/>
              <p:cNvSpPr/>
              <p:nvPr/>
            </p:nvSpPr>
            <p:spPr bwMode="gray">
              <a:xfrm>
                <a:off x="2216039" y="2671787"/>
                <a:ext cx="1080120" cy="144016"/>
              </a:xfrm>
              <a:prstGeom prst="flowChartMagneticDisk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indent="0"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bg1"/>
                  </a:buClr>
                  <a:buSzPct val="100000"/>
                  <a:buFont typeface="Arial" panose="020B0604020202020204" pitchFamily="34" charset="0"/>
                  <a:buNone/>
                </a:pPr>
                <a:endParaRPr lang="fr-FR" sz="1000" kern="0" dirty="0" smtClea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204" name="ZoneTexte 203"/>
              <p:cNvSpPr txBox="1"/>
              <p:nvPr/>
            </p:nvSpPr>
            <p:spPr bwMode="gray">
              <a:xfrm>
                <a:off x="1567967" y="2301957"/>
                <a:ext cx="2376264" cy="3877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fr-FR"/>
                </a:defPPr>
                <a:lvl1pPr marR="0" fontAlgn="auto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  <a:buSzTx/>
                  <a:tabLst/>
                  <a:defRPr sz="1200" i="1">
                    <a:solidFill>
                      <a:schemeClr val="accent1">
                        <a:lumMod val="7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</a:lstStyle>
              <a:p>
                <a:pPr algn="ctr"/>
                <a:r>
                  <a:rPr lang="fr-FR" sz="900" dirty="0" smtClean="0"/>
                  <a:t>Release </a:t>
                </a:r>
                <a:r>
                  <a:rPr lang="fr-FR" sz="900" dirty="0" err="1" smtClean="0"/>
                  <a:t>Backlog</a:t>
                </a:r>
                <a:r>
                  <a:rPr lang="fr-FR" sz="900" dirty="0" smtClean="0"/>
                  <a:t> </a:t>
                </a:r>
                <a:br>
                  <a:rPr lang="fr-FR" sz="900" dirty="0" smtClean="0"/>
                </a:br>
                <a:r>
                  <a:rPr lang="fr-FR" sz="900" dirty="0" err="1" smtClean="0"/>
                  <a:t>Functional</a:t>
                </a:r>
                <a:r>
                  <a:rPr lang="fr-FR" sz="900" dirty="0" smtClean="0"/>
                  <a:t> version 1.00.02</a:t>
                </a:r>
                <a:endParaRPr lang="fr-FR" sz="900" dirty="0"/>
              </a:p>
            </p:txBody>
          </p:sp>
        </p:grpSp>
        <p:sp>
          <p:nvSpPr>
            <p:cNvPr id="185" name="ZoneTexte 184"/>
            <p:cNvSpPr txBox="1"/>
            <p:nvPr/>
          </p:nvSpPr>
          <p:spPr bwMode="gray">
            <a:xfrm>
              <a:off x="3318114" y="4812846"/>
              <a:ext cx="202444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fr-FR"/>
              </a:defPPr>
              <a:lvl1pPr marR="0" fontAlgn="auto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  <a:defRPr sz="1200" i="1">
                  <a:solidFill>
                    <a:schemeClr val="accent1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ctr"/>
              <a:r>
                <a:rPr lang="fr-FR" sz="800" b="1" dirty="0" smtClean="0"/>
                <a:t>Release 1.00.02.00</a:t>
              </a:r>
              <a:endParaRPr lang="fr-FR" sz="800" b="1" dirty="0"/>
            </a:p>
          </p:txBody>
        </p:sp>
      </p:grpSp>
      <p:cxnSp>
        <p:nvCxnSpPr>
          <p:cNvPr id="205" name="Connecteur en angle 204"/>
          <p:cNvCxnSpPr>
            <a:stCxn id="103" idx="2"/>
            <a:endCxn id="204" idx="0"/>
          </p:cNvCxnSpPr>
          <p:nvPr/>
        </p:nvCxnSpPr>
        <p:spPr>
          <a:xfrm rot="16200000" flipH="1">
            <a:off x="5093943" y="3703613"/>
            <a:ext cx="493282" cy="140576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0" name="Groupe 209"/>
          <p:cNvGrpSpPr/>
          <p:nvPr/>
        </p:nvGrpSpPr>
        <p:grpSpPr>
          <a:xfrm>
            <a:off x="7509561" y="3559109"/>
            <a:ext cx="112098" cy="102872"/>
            <a:chOff x="10160366" y="2067727"/>
            <a:chExt cx="256114" cy="218497"/>
          </a:xfrm>
        </p:grpSpPr>
        <p:cxnSp>
          <p:nvCxnSpPr>
            <p:cNvPr id="206" name="Connecteur droit 205"/>
            <p:cNvCxnSpPr/>
            <p:nvPr/>
          </p:nvCxnSpPr>
          <p:spPr>
            <a:xfrm>
              <a:off x="10160366" y="2067727"/>
              <a:ext cx="256114" cy="218497"/>
            </a:xfrm>
            <a:prstGeom prst="line">
              <a:avLst/>
            </a:prstGeom>
            <a:ln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07" name="Connecteur droit 206"/>
            <p:cNvCxnSpPr/>
            <p:nvPr/>
          </p:nvCxnSpPr>
          <p:spPr>
            <a:xfrm flipV="1">
              <a:off x="10160366" y="2067727"/>
              <a:ext cx="256114" cy="218497"/>
            </a:xfrm>
            <a:prstGeom prst="line">
              <a:avLst/>
            </a:prstGeom>
            <a:ln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  <p:grpSp>
        <p:nvGrpSpPr>
          <p:cNvPr id="211" name="Groupe 210"/>
          <p:cNvGrpSpPr/>
          <p:nvPr/>
        </p:nvGrpSpPr>
        <p:grpSpPr>
          <a:xfrm>
            <a:off x="7509561" y="3109330"/>
            <a:ext cx="112098" cy="102872"/>
            <a:chOff x="10160366" y="2067727"/>
            <a:chExt cx="256114" cy="218497"/>
          </a:xfrm>
        </p:grpSpPr>
        <p:cxnSp>
          <p:nvCxnSpPr>
            <p:cNvPr id="212" name="Connecteur droit 211"/>
            <p:cNvCxnSpPr/>
            <p:nvPr/>
          </p:nvCxnSpPr>
          <p:spPr>
            <a:xfrm>
              <a:off x="10160366" y="2067727"/>
              <a:ext cx="256114" cy="218497"/>
            </a:xfrm>
            <a:prstGeom prst="line">
              <a:avLst/>
            </a:prstGeom>
            <a:ln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3" name="Connecteur droit 212"/>
            <p:cNvCxnSpPr/>
            <p:nvPr/>
          </p:nvCxnSpPr>
          <p:spPr>
            <a:xfrm flipV="1">
              <a:off x="10160366" y="2067727"/>
              <a:ext cx="256114" cy="218497"/>
            </a:xfrm>
            <a:prstGeom prst="line">
              <a:avLst/>
            </a:prstGeom>
            <a:ln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  <p:grpSp>
        <p:nvGrpSpPr>
          <p:cNvPr id="220" name="Groupe 219"/>
          <p:cNvGrpSpPr/>
          <p:nvPr/>
        </p:nvGrpSpPr>
        <p:grpSpPr>
          <a:xfrm>
            <a:off x="9561824" y="5548883"/>
            <a:ext cx="144016" cy="175946"/>
            <a:chOff x="9696400" y="2682706"/>
            <a:chExt cx="345188" cy="273838"/>
          </a:xfrm>
        </p:grpSpPr>
        <p:cxnSp>
          <p:nvCxnSpPr>
            <p:cNvPr id="215" name="Connecteur droit 214"/>
            <p:cNvCxnSpPr/>
            <p:nvPr/>
          </p:nvCxnSpPr>
          <p:spPr>
            <a:xfrm>
              <a:off x="9696400" y="2821205"/>
              <a:ext cx="144016" cy="125673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16" name="Connecteur droit 215"/>
            <p:cNvCxnSpPr/>
            <p:nvPr/>
          </p:nvCxnSpPr>
          <p:spPr>
            <a:xfrm flipV="1">
              <a:off x="9833948" y="2682706"/>
              <a:ext cx="207640" cy="273838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221" name="Groupe 220"/>
          <p:cNvGrpSpPr/>
          <p:nvPr/>
        </p:nvGrpSpPr>
        <p:grpSpPr>
          <a:xfrm>
            <a:off x="9581850" y="5041780"/>
            <a:ext cx="144016" cy="175946"/>
            <a:chOff x="9696400" y="2682706"/>
            <a:chExt cx="345188" cy="273838"/>
          </a:xfrm>
        </p:grpSpPr>
        <p:cxnSp>
          <p:nvCxnSpPr>
            <p:cNvPr id="222" name="Connecteur droit 221"/>
            <p:cNvCxnSpPr/>
            <p:nvPr/>
          </p:nvCxnSpPr>
          <p:spPr>
            <a:xfrm>
              <a:off x="9696400" y="2821205"/>
              <a:ext cx="144016" cy="125673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23" name="Connecteur droit 222"/>
            <p:cNvCxnSpPr/>
            <p:nvPr/>
          </p:nvCxnSpPr>
          <p:spPr>
            <a:xfrm flipV="1">
              <a:off x="9833948" y="2682706"/>
              <a:ext cx="207640" cy="273838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225" name="ZoneTexte 224"/>
          <p:cNvSpPr txBox="1"/>
          <p:nvPr/>
        </p:nvSpPr>
        <p:spPr bwMode="gray">
          <a:xfrm>
            <a:off x="5097804" y="2479623"/>
            <a:ext cx="16895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0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tional</a:t>
            </a:r>
            <a:r>
              <a:rPr kumimoji="0" lang="fr-FR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odification</a:t>
            </a:r>
          </a:p>
        </p:txBody>
      </p:sp>
      <p:sp>
        <p:nvSpPr>
          <p:cNvPr id="226" name="ZoneTexte 225"/>
          <p:cNvSpPr txBox="1"/>
          <p:nvPr/>
        </p:nvSpPr>
        <p:spPr bwMode="gray">
          <a:xfrm>
            <a:off x="8158530" y="4242464"/>
            <a:ext cx="73096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g fixing</a:t>
            </a:r>
          </a:p>
        </p:txBody>
      </p:sp>
      <p:sp>
        <p:nvSpPr>
          <p:cNvPr id="227" name="ZoneTexte 226"/>
          <p:cNvSpPr txBox="1"/>
          <p:nvPr/>
        </p:nvSpPr>
        <p:spPr bwMode="gray">
          <a:xfrm>
            <a:off x="4070279" y="4436653"/>
            <a:ext cx="102752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0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stomization</a:t>
            </a:r>
            <a:endParaRPr kumimoji="0" lang="fr-FR" sz="1000" b="1" i="1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" name="Espace réservé du texte 4"/>
          <p:cNvSpPr txBox="1">
            <a:spLocks/>
          </p:cNvSpPr>
          <p:nvPr/>
        </p:nvSpPr>
        <p:spPr bwMode="gray">
          <a:xfrm>
            <a:off x="621173" y="402208"/>
            <a:ext cx="10944225" cy="316800"/>
          </a:xfrm>
          <a:prstGeom prst="rect">
            <a:avLst/>
          </a:prstGeom>
        </p:spPr>
        <p:txBody>
          <a:bodyPr vert="horz" lIns="0" tIns="18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de-DE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endParaRPr lang="fr-FR" dirty="0"/>
          </a:p>
        </p:txBody>
      </p:sp>
      <p:sp>
        <p:nvSpPr>
          <p:cNvPr id="208" name="Espace réservé du texte 4"/>
          <p:cNvSpPr txBox="1">
            <a:spLocks/>
          </p:cNvSpPr>
          <p:nvPr/>
        </p:nvSpPr>
        <p:spPr bwMode="gray">
          <a:xfrm>
            <a:off x="621172" y="397506"/>
            <a:ext cx="10944225" cy="316800"/>
          </a:xfrm>
          <a:prstGeom prst="rect">
            <a:avLst/>
          </a:prstGeom>
        </p:spPr>
        <p:txBody>
          <a:bodyPr vert="horz" lIns="0" tIns="1800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en-US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lang="de-DE"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Symbol" panose="05050102010706020507" pitchFamily="18" charset="2"/>
              <a:buNone/>
              <a:defRPr sz="2000" b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fr-FR" dirty="0" smtClean="0"/>
              <a:t>REMINDE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2870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714417"/>
          </a:xfrm>
        </p:spPr>
        <p:txBody>
          <a:bodyPr/>
          <a:lstStyle/>
          <a:p>
            <a:r>
              <a:rPr lang="fr-FR" dirty="0" smtClean="0"/>
              <a:t>JAMA </a:t>
            </a:r>
            <a:r>
              <a:rPr lang="fr-FR" dirty="0" err="1" smtClean="0"/>
              <a:t>project</a:t>
            </a:r>
            <a:r>
              <a:rPr lang="fr-FR" dirty="0" smtClean="0"/>
              <a:t> manage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577189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JAMA </a:t>
            </a:r>
            <a:r>
              <a:rPr lang="fr-FR" dirty="0" err="1"/>
              <a:t>project</a:t>
            </a:r>
            <a:r>
              <a:rPr lang="fr-FR" dirty="0"/>
              <a:t> management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Projects</a:t>
            </a:r>
            <a:r>
              <a:rPr lang="fr-FR" dirty="0" smtClean="0"/>
              <a:t> structure</a:t>
            </a:r>
            <a:endParaRPr lang="fr-FR" dirty="0"/>
          </a:p>
        </p:txBody>
      </p:sp>
      <p:grpSp>
        <p:nvGrpSpPr>
          <p:cNvPr id="40" name="Groupe 39"/>
          <p:cNvGrpSpPr/>
          <p:nvPr/>
        </p:nvGrpSpPr>
        <p:grpSpPr>
          <a:xfrm>
            <a:off x="3419866" y="1935174"/>
            <a:ext cx="5556454" cy="287742"/>
            <a:chOff x="2843802" y="2454295"/>
            <a:chExt cx="5556454" cy="287742"/>
          </a:xfrm>
        </p:grpSpPr>
        <p:pic>
          <p:nvPicPr>
            <p:cNvPr id="8" name="Image 7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2454295"/>
              <a:ext cx="319713" cy="287742"/>
            </a:xfrm>
            <a:prstGeom prst="rect">
              <a:avLst/>
            </a:prstGeom>
          </p:spPr>
        </p:pic>
        <p:sp>
          <p:nvSpPr>
            <p:cNvPr id="10" name="ZoneTexte 9"/>
            <p:cNvSpPr txBox="1"/>
            <p:nvPr/>
          </p:nvSpPr>
          <p:spPr bwMode="gray">
            <a:xfrm>
              <a:off x="3292674" y="2490444"/>
              <a:ext cx="51075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2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gitilizing</a:t>
              </a: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fr-FR" sz="12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iopharma</a:t>
              </a: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fr-FR" sz="12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cess</a:t>
              </a: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– PI ART - Model</a:t>
              </a:r>
              <a:endParaRPr kumimoji="0" lang="fr-F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pic>
        <p:nvPicPr>
          <p:cNvPr id="11" name="Imag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5520" y="1064528"/>
            <a:ext cx="1219200" cy="466725"/>
          </a:xfrm>
          <a:prstGeom prst="rect">
            <a:avLst/>
          </a:prstGeom>
        </p:spPr>
      </p:pic>
      <p:cxnSp>
        <p:nvCxnSpPr>
          <p:cNvPr id="13" name="Connecteur en angle 12"/>
          <p:cNvCxnSpPr>
            <a:stCxn id="11" idx="2"/>
            <a:endCxn id="7" idx="1"/>
          </p:cNvCxnSpPr>
          <p:nvPr/>
        </p:nvCxnSpPr>
        <p:spPr>
          <a:xfrm rot="16200000" flipH="1">
            <a:off x="2485230" y="1431143"/>
            <a:ext cx="142110" cy="34233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necteur en angle 14"/>
          <p:cNvCxnSpPr>
            <a:stCxn id="7" idx="2"/>
            <a:endCxn id="8" idx="1"/>
          </p:cNvCxnSpPr>
          <p:nvPr/>
        </p:nvCxnSpPr>
        <p:spPr>
          <a:xfrm rot="16200000" flipH="1">
            <a:off x="3095702" y="1754880"/>
            <a:ext cx="217103" cy="43122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2" name="Groupe 41"/>
          <p:cNvGrpSpPr/>
          <p:nvPr/>
        </p:nvGrpSpPr>
        <p:grpSpPr>
          <a:xfrm>
            <a:off x="2727450" y="2296148"/>
            <a:ext cx="5744814" cy="377158"/>
            <a:chOff x="2151386" y="3002068"/>
            <a:chExt cx="5744814" cy="377158"/>
          </a:xfrm>
        </p:grpSpPr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151386" y="3002068"/>
              <a:ext cx="522379" cy="377158"/>
            </a:xfrm>
            <a:prstGeom prst="rect">
              <a:avLst/>
            </a:prstGeom>
          </p:spPr>
        </p:pic>
        <p:sp>
          <p:nvSpPr>
            <p:cNvPr id="17" name="ZoneTexte 16"/>
            <p:cNvSpPr txBox="1"/>
            <p:nvPr/>
          </p:nvSpPr>
          <p:spPr bwMode="gray">
            <a:xfrm>
              <a:off x="2788618" y="3042007"/>
              <a:ext cx="510758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400" b="1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gram </a:t>
              </a:r>
              <a:r>
                <a:rPr lang="fr-FR" sz="1400" b="1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crements</a:t>
              </a:r>
              <a:r>
                <a:rPr lang="fr-FR" sz="1400" b="1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in </a:t>
              </a:r>
              <a:r>
                <a:rPr lang="fr-FR" sz="1400" b="1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evelopment</a:t>
              </a:r>
              <a:r>
                <a:rPr lang="fr-FR" sz="1400" b="1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- </a:t>
              </a:r>
              <a:r>
                <a:rPr lang="fr-FR" sz="1400" b="1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urrent</a:t>
              </a:r>
              <a:endParaRPr kumimoji="0" lang="fr-F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6" name="Groupe 35"/>
          <p:cNvGrpSpPr/>
          <p:nvPr/>
        </p:nvGrpSpPr>
        <p:grpSpPr>
          <a:xfrm>
            <a:off x="3419866" y="2746538"/>
            <a:ext cx="5556454" cy="287742"/>
            <a:chOff x="2843802" y="3587353"/>
            <a:chExt cx="5556454" cy="287742"/>
          </a:xfrm>
        </p:grpSpPr>
        <p:pic>
          <p:nvPicPr>
            <p:cNvPr id="18" name="Image 17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3587353"/>
              <a:ext cx="319713" cy="287742"/>
            </a:xfrm>
            <a:prstGeom prst="rect">
              <a:avLst/>
            </a:prstGeom>
          </p:spPr>
        </p:pic>
        <p:sp>
          <p:nvSpPr>
            <p:cNvPr id="19" name="ZoneTexte 18"/>
            <p:cNvSpPr txBox="1"/>
            <p:nvPr/>
          </p:nvSpPr>
          <p:spPr bwMode="gray">
            <a:xfrm>
              <a:off x="3292674" y="3617075"/>
              <a:ext cx="51075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PI 1 ART - </a:t>
              </a:r>
              <a:r>
                <a:rPr lang="fr-FR" sz="12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urrent</a:t>
              </a:r>
              <a:endParaRPr kumimoji="0" lang="fr-F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7" name="Groupe 36"/>
          <p:cNvGrpSpPr/>
          <p:nvPr/>
        </p:nvGrpSpPr>
        <p:grpSpPr>
          <a:xfrm>
            <a:off x="3421042" y="3107512"/>
            <a:ext cx="5556454" cy="287742"/>
            <a:chOff x="2844978" y="4053372"/>
            <a:chExt cx="5556454" cy="287742"/>
          </a:xfrm>
        </p:grpSpPr>
        <p:pic>
          <p:nvPicPr>
            <p:cNvPr id="20" name="Image 19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4978" y="4053372"/>
              <a:ext cx="319713" cy="287742"/>
            </a:xfrm>
            <a:prstGeom prst="rect">
              <a:avLst/>
            </a:prstGeom>
          </p:spPr>
        </p:pic>
        <p:sp>
          <p:nvSpPr>
            <p:cNvPr id="21" name="ZoneTexte 20"/>
            <p:cNvSpPr txBox="1"/>
            <p:nvPr/>
          </p:nvSpPr>
          <p:spPr bwMode="gray">
            <a:xfrm>
              <a:off x="3293850" y="4083094"/>
              <a:ext cx="51075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</a:t>
              </a:r>
              <a:r>
                <a:rPr lang="fr-FR" sz="12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oundation</a:t>
              </a: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RT - </a:t>
              </a:r>
              <a:r>
                <a:rPr lang="fr-FR" sz="12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urrent</a:t>
              </a:r>
              <a:endParaRPr kumimoji="0" lang="fr-F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8" name="Groupe 37"/>
          <p:cNvGrpSpPr/>
          <p:nvPr/>
        </p:nvGrpSpPr>
        <p:grpSpPr>
          <a:xfrm>
            <a:off x="3419866" y="3468486"/>
            <a:ext cx="5556454" cy="287742"/>
            <a:chOff x="2843802" y="4606262"/>
            <a:chExt cx="5556454" cy="287742"/>
          </a:xfrm>
        </p:grpSpPr>
        <p:pic>
          <p:nvPicPr>
            <p:cNvPr id="22" name="Image 21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4606262"/>
              <a:ext cx="319713" cy="287742"/>
            </a:xfrm>
            <a:prstGeom prst="rect">
              <a:avLst/>
            </a:prstGeom>
          </p:spPr>
        </p:pic>
        <p:sp>
          <p:nvSpPr>
            <p:cNvPr id="23" name="ZoneTexte 22"/>
            <p:cNvSpPr txBox="1"/>
            <p:nvPr/>
          </p:nvSpPr>
          <p:spPr bwMode="gray">
            <a:xfrm>
              <a:off x="3292674" y="4635984"/>
              <a:ext cx="51075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NFR ART - </a:t>
              </a:r>
              <a:r>
                <a:rPr lang="fr-FR" sz="12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urrent</a:t>
              </a:r>
              <a:endParaRPr kumimoji="0" lang="fr-F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9" name="Groupe 38"/>
          <p:cNvGrpSpPr/>
          <p:nvPr/>
        </p:nvGrpSpPr>
        <p:grpSpPr>
          <a:xfrm>
            <a:off x="3419866" y="3829460"/>
            <a:ext cx="5556454" cy="287742"/>
            <a:chOff x="2843802" y="5107313"/>
            <a:chExt cx="5556454" cy="287742"/>
          </a:xfrm>
        </p:grpSpPr>
        <p:pic>
          <p:nvPicPr>
            <p:cNvPr id="24" name="Image 23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5107313"/>
              <a:ext cx="319713" cy="287742"/>
            </a:xfrm>
            <a:prstGeom prst="rect">
              <a:avLst/>
            </a:prstGeom>
          </p:spPr>
        </p:pic>
        <p:sp>
          <p:nvSpPr>
            <p:cNvPr id="25" name="ZoneTexte 24"/>
            <p:cNvSpPr txBox="1"/>
            <p:nvPr/>
          </p:nvSpPr>
          <p:spPr bwMode="gray">
            <a:xfrm>
              <a:off x="3292674" y="5137035"/>
              <a:ext cx="51075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PI </a:t>
              </a:r>
              <a:r>
                <a:rPr lang="fr-FR" sz="12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tegration</a:t>
              </a: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RT - </a:t>
              </a:r>
              <a:r>
                <a:rPr lang="fr-FR" sz="12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urrent</a:t>
              </a:r>
              <a:endParaRPr kumimoji="0" lang="fr-F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cxnSp>
        <p:nvCxnSpPr>
          <p:cNvPr id="27" name="Connecteur en angle 26"/>
          <p:cNvCxnSpPr>
            <a:stCxn id="11" idx="2"/>
            <a:endCxn id="16" idx="1"/>
          </p:cNvCxnSpPr>
          <p:nvPr/>
        </p:nvCxnSpPr>
        <p:spPr>
          <a:xfrm rot="16200000" flipH="1">
            <a:off x="2079548" y="1836825"/>
            <a:ext cx="953474" cy="34233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Connecteur en angle 28"/>
          <p:cNvCxnSpPr>
            <a:stCxn id="16" idx="2"/>
            <a:endCxn id="18" idx="1"/>
          </p:cNvCxnSpPr>
          <p:nvPr/>
        </p:nvCxnSpPr>
        <p:spPr>
          <a:xfrm rot="16200000" flipH="1">
            <a:off x="3095702" y="2566244"/>
            <a:ext cx="217103" cy="43122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Connecteur en angle 30"/>
          <p:cNvCxnSpPr>
            <a:stCxn id="16" idx="2"/>
            <a:endCxn id="20" idx="1"/>
          </p:cNvCxnSpPr>
          <p:nvPr/>
        </p:nvCxnSpPr>
        <p:spPr>
          <a:xfrm rot="16200000" flipH="1">
            <a:off x="2915803" y="2746143"/>
            <a:ext cx="578077" cy="43240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Connecteur en angle 32"/>
          <p:cNvCxnSpPr>
            <a:stCxn id="16" idx="2"/>
            <a:endCxn id="22" idx="1"/>
          </p:cNvCxnSpPr>
          <p:nvPr/>
        </p:nvCxnSpPr>
        <p:spPr>
          <a:xfrm rot="16200000" flipH="1">
            <a:off x="2734728" y="2927218"/>
            <a:ext cx="939051" cy="43122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Connecteur en angle 34"/>
          <p:cNvCxnSpPr>
            <a:stCxn id="16" idx="2"/>
            <a:endCxn id="24" idx="1"/>
          </p:cNvCxnSpPr>
          <p:nvPr/>
        </p:nvCxnSpPr>
        <p:spPr>
          <a:xfrm rot="16200000" flipH="1">
            <a:off x="2554241" y="3107705"/>
            <a:ext cx="1300025" cy="43122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1" name="Groupe 40"/>
          <p:cNvGrpSpPr/>
          <p:nvPr/>
        </p:nvGrpSpPr>
        <p:grpSpPr>
          <a:xfrm>
            <a:off x="2727450" y="1484784"/>
            <a:ext cx="5744814" cy="377158"/>
            <a:chOff x="2151386" y="1884351"/>
            <a:chExt cx="5744814" cy="377158"/>
          </a:xfrm>
        </p:grpSpPr>
        <p:pic>
          <p:nvPicPr>
            <p:cNvPr id="7" name="Imag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151386" y="1884351"/>
              <a:ext cx="522379" cy="377158"/>
            </a:xfrm>
            <a:prstGeom prst="rect">
              <a:avLst/>
            </a:prstGeom>
          </p:spPr>
        </p:pic>
        <p:sp>
          <p:nvSpPr>
            <p:cNvPr id="9" name="ZoneTexte 8"/>
            <p:cNvSpPr txBox="1"/>
            <p:nvPr/>
          </p:nvSpPr>
          <p:spPr bwMode="gray">
            <a:xfrm>
              <a:off x="2788618" y="1924290"/>
              <a:ext cx="510758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400" b="1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jects</a:t>
              </a:r>
              <a:r>
                <a:rPr lang="fr-FR" sz="1400" b="1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fr-FR" sz="1400" b="1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odels</a:t>
              </a:r>
              <a:r>
                <a:rPr lang="fr-FR" sz="1400" b="1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kumimoji="0" lang="fr-F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43" name="Groupe 42"/>
          <p:cNvGrpSpPr/>
          <p:nvPr/>
        </p:nvGrpSpPr>
        <p:grpSpPr>
          <a:xfrm>
            <a:off x="2730573" y="4190434"/>
            <a:ext cx="5744814" cy="377158"/>
            <a:chOff x="2151386" y="3002068"/>
            <a:chExt cx="5744814" cy="377158"/>
          </a:xfrm>
        </p:grpSpPr>
        <p:pic>
          <p:nvPicPr>
            <p:cNvPr id="44" name="Image 4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151386" y="3002068"/>
              <a:ext cx="522379" cy="377158"/>
            </a:xfrm>
            <a:prstGeom prst="rect">
              <a:avLst/>
            </a:prstGeom>
          </p:spPr>
        </p:pic>
        <p:sp>
          <p:nvSpPr>
            <p:cNvPr id="45" name="ZoneTexte 44"/>
            <p:cNvSpPr txBox="1"/>
            <p:nvPr/>
          </p:nvSpPr>
          <p:spPr bwMode="gray">
            <a:xfrm>
              <a:off x="2788618" y="3042007"/>
              <a:ext cx="510758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400" b="1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gram </a:t>
              </a:r>
              <a:r>
                <a:rPr lang="fr-FR" sz="1400" b="1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crements</a:t>
              </a:r>
              <a:r>
                <a:rPr lang="fr-FR" sz="1400" b="1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fr-FR" sz="1400" b="1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rchived</a:t>
              </a:r>
              <a:r>
                <a:rPr lang="fr-FR" sz="1400" b="1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versions</a:t>
              </a:r>
              <a:endParaRPr kumimoji="0" lang="fr-F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46" name="Groupe 45"/>
          <p:cNvGrpSpPr/>
          <p:nvPr/>
        </p:nvGrpSpPr>
        <p:grpSpPr>
          <a:xfrm>
            <a:off x="3422989" y="4640824"/>
            <a:ext cx="5556454" cy="287742"/>
            <a:chOff x="2843802" y="3587353"/>
            <a:chExt cx="5556454" cy="287742"/>
          </a:xfrm>
        </p:grpSpPr>
        <p:pic>
          <p:nvPicPr>
            <p:cNvPr id="47" name="Image 46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3587353"/>
              <a:ext cx="319713" cy="287742"/>
            </a:xfrm>
            <a:prstGeom prst="rect">
              <a:avLst/>
            </a:prstGeom>
          </p:spPr>
        </p:pic>
        <p:sp>
          <p:nvSpPr>
            <p:cNvPr id="48" name="ZoneTexte 47"/>
            <p:cNvSpPr txBox="1"/>
            <p:nvPr/>
          </p:nvSpPr>
          <p:spPr bwMode="gray">
            <a:xfrm>
              <a:off x="3292674" y="3617075"/>
              <a:ext cx="51075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PI 1 ART – v1.00.00.00 - Archive</a:t>
              </a:r>
              <a:endParaRPr kumimoji="0" lang="fr-F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49" name="Groupe 48"/>
          <p:cNvGrpSpPr/>
          <p:nvPr/>
        </p:nvGrpSpPr>
        <p:grpSpPr>
          <a:xfrm>
            <a:off x="3424165" y="5001798"/>
            <a:ext cx="5556454" cy="287742"/>
            <a:chOff x="2844978" y="4053372"/>
            <a:chExt cx="5556454" cy="287742"/>
          </a:xfrm>
        </p:grpSpPr>
        <p:pic>
          <p:nvPicPr>
            <p:cNvPr id="50" name="Image 49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4978" y="4053372"/>
              <a:ext cx="319713" cy="287742"/>
            </a:xfrm>
            <a:prstGeom prst="rect">
              <a:avLst/>
            </a:prstGeom>
          </p:spPr>
        </p:pic>
        <p:sp>
          <p:nvSpPr>
            <p:cNvPr id="51" name="ZoneTexte 50"/>
            <p:cNvSpPr txBox="1"/>
            <p:nvPr/>
          </p:nvSpPr>
          <p:spPr bwMode="gray">
            <a:xfrm>
              <a:off x="3293850" y="4083094"/>
              <a:ext cx="51075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</a:t>
              </a:r>
              <a:r>
                <a:rPr lang="fr-FR" sz="12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oundation</a:t>
              </a: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RT </a:t>
              </a:r>
              <a:r>
                <a:rPr lang="fr-FR" sz="12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– v1.00.00.00 - Archive</a:t>
              </a:r>
              <a:endParaRPr kumimoji="0" lang="fr-F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2" name="Groupe 51"/>
          <p:cNvGrpSpPr/>
          <p:nvPr/>
        </p:nvGrpSpPr>
        <p:grpSpPr>
          <a:xfrm>
            <a:off x="3422989" y="5362772"/>
            <a:ext cx="5556454" cy="287742"/>
            <a:chOff x="2843802" y="4606262"/>
            <a:chExt cx="5556454" cy="287742"/>
          </a:xfrm>
        </p:grpSpPr>
        <p:pic>
          <p:nvPicPr>
            <p:cNvPr id="53" name="Image 52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4606262"/>
              <a:ext cx="319713" cy="287742"/>
            </a:xfrm>
            <a:prstGeom prst="rect">
              <a:avLst/>
            </a:prstGeom>
          </p:spPr>
        </p:pic>
        <p:sp>
          <p:nvSpPr>
            <p:cNvPr id="54" name="ZoneTexte 53"/>
            <p:cNvSpPr txBox="1"/>
            <p:nvPr/>
          </p:nvSpPr>
          <p:spPr bwMode="gray">
            <a:xfrm>
              <a:off x="3292674" y="4635984"/>
              <a:ext cx="51075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NFR ART </a:t>
              </a:r>
              <a:r>
                <a:rPr lang="fr-FR" sz="12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– v1.00.00.00 - Archive</a:t>
              </a:r>
              <a:endParaRPr kumimoji="0" lang="fr-F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8" name="Groupe 57"/>
          <p:cNvGrpSpPr/>
          <p:nvPr/>
        </p:nvGrpSpPr>
        <p:grpSpPr>
          <a:xfrm>
            <a:off x="3419866" y="5723743"/>
            <a:ext cx="5556454" cy="287742"/>
            <a:chOff x="2843802" y="3587353"/>
            <a:chExt cx="5556454" cy="287742"/>
          </a:xfrm>
        </p:grpSpPr>
        <p:pic>
          <p:nvPicPr>
            <p:cNvPr id="59" name="Image 58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3587353"/>
              <a:ext cx="319713" cy="287742"/>
            </a:xfrm>
            <a:prstGeom prst="rect">
              <a:avLst/>
            </a:prstGeom>
          </p:spPr>
        </p:pic>
        <p:sp>
          <p:nvSpPr>
            <p:cNvPr id="60" name="ZoneTexte 59"/>
            <p:cNvSpPr txBox="1"/>
            <p:nvPr/>
          </p:nvSpPr>
          <p:spPr bwMode="gray">
            <a:xfrm>
              <a:off x="3292674" y="3617075"/>
              <a:ext cx="51075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2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PI 1 ART – v1.01.00.00 - Archive</a:t>
              </a:r>
              <a:endParaRPr kumimoji="0" lang="fr-F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cxnSp>
        <p:nvCxnSpPr>
          <p:cNvPr id="62" name="Connecteur en angle 61"/>
          <p:cNvCxnSpPr>
            <a:stCxn id="11" idx="2"/>
            <a:endCxn id="44" idx="1"/>
          </p:cNvCxnSpPr>
          <p:nvPr/>
        </p:nvCxnSpPr>
        <p:spPr>
          <a:xfrm rot="16200000" flipH="1">
            <a:off x="1133966" y="2782406"/>
            <a:ext cx="2847760" cy="34545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Connecteur en angle 63"/>
          <p:cNvCxnSpPr>
            <a:stCxn id="44" idx="2"/>
            <a:endCxn id="47" idx="1"/>
          </p:cNvCxnSpPr>
          <p:nvPr/>
        </p:nvCxnSpPr>
        <p:spPr>
          <a:xfrm rot="16200000" flipH="1">
            <a:off x="3098825" y="4460530"/>
            <a:ext cx="217103" cy="43122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Connecteur en angle 65"/>
          <p:cNvCxnSpPr>
            <a:stCxn id="44" idx="2"/>
            <a:endCxn id="50" idx="1"/>
          </p:cNvCxnSpPr>
          <p:nvPr/>
        </p:nvCxnSpPr>
        <p:spPr>
          <a:xfrm rot="16200000" flipH="1">
            <a:off x="2918926" y="4640429"/>
            <a:ext cx="578077" cy="43240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Connecteur en angle 67"/>
          <p:cNvCxnSpPr>
            <a:stCxn id="44" idx="2"/>
            <a:endCxn id="53" idx="1"/>
          </p:cNvCxnSpPr>
          <p:nvPr/>
        </p:nvCxnSpPr>
        <p:spPr>
          <a:xfrm rot="16200000" flipH="1">
            <a:off x="2737851" y="4821504"/>
            <a:ext cx="939051" cy="43122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Connecteur en angle 69"/>
          <p:cNvCxnSpPr>
            <a:stCxn id="44" idx="2"/>
            <a:endCxn id="59" idx="1"/>
          </p:cNvCxnSpPr>
          <p:nvPr/>
        </p:nvCxnSpPr>
        <p:spPr>
          <a:xfrm rot="16200000" flipH="1">
            <a:off x="2555803" y="5003551"/>
            <a:ext cx="1300022" cy="42810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ZoneTexte 70"/>
          <p:cNvSpPr txBox="1"/>
          <p:nvPr/>
        </p:nvSpPr>
        <p:spPr bwMode="gray">
          <a:xfrm>
            <a:off x="9275460" y="21570"/>
            <a:ext cx="2916540" cy="90794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1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ART = </a:t>
            </a:r>
            <a:r>
              <a:rPr kumimoji="0" lang="fr-FR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ile Release Train 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lang="fr-FR" sz="1100" b="1" i="1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PI = </a:t>
            </a:r>
            <a:r>
              <a:rPr lang="fr-FR" sz="1100" i="1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gram </a:t>
            </a:r>
            <a:r>
              <a:rPr lang="fr-FR" sz="1100" i="1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rement</a:t>
            </a:r>
            <a:r>
              <a:rPr lang="fr-FR" sz="1100" i="1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1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NFR= </a:t>
            </a:r>
            <a:r>
              <a:rPr kumimoji="0" lang="fr-FR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n </a:t>
            </a:r>
            <a:r>
              <a:rPr kumimoji="0" lang="fr-FR" sz="11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tional</a:t>
            </a:r>
            <a:r>
              <a:rPr kumimoji="0" lang="fr-FR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1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quirements</a:t>
            </a:r>
            <a:endParaRPr kumimoji="0" lang="fr-FR" sz="1100" b="0" i="1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lang="fr-FR" sz="1100" b="1" i="1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fr-FR" sz="1100" b="1" i="1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gration</a:t>
            </a:r>
            <a:r>
              <a:rPr lang="fr-FR" sz="1100" b="1" i="1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= </a:t>
            </a:r>
            <a:r>
              <a:rPr lang="fr-FR" sz="1100" i="1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is Product </a:t>
            </a:r>
            <a:r>
              <a:rPr lang="fr-FR" sz="1100" i="1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gration</a:t>
            </a:r>
            <a:endParaRPr kumimoji="0" lang="fr-FR" sz="1100" b="0" i="1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" name="Accolade fermante 71"/>
          <p:cNvSpPr/>
          <p:nvPr/>
        </p:nvSpPr>
        <p:spPr>
          <a:xfrm>
            <a:off x="8400256" y="1297890"/>
            <a:ext cx="216024" cy="925026"/>
          </a:xfrm>
          <a:prstGeom prst="rightBrac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3" name="Accolade fermante 72"/>
          <p:cNvSpPr/>
          <p:nvPr/>
        </p:nvSpPr>
        <p:spPr>
          <a:xfrm>
            <a:off x="8422157" y="2356222"/>
            <a:ext cx="216024" cy="1834212"/>
          </a:xfrm>
          <a:prstGeom prst="rightBrac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4" name="Accolade fermante 73"/>
          <p:cNvSpPr/>
          <p:nvPr/>
        </p:nvSpPr>
        <p:spPr>
          <a:xfrm>
            <a:off x="8431955" y="4320896"/>
            <a:ext cx="216024" cy="1731158"/>
          </a:xfrm>
          <a:prstGeom prst="rightBrac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5" name="ZoneTexte 74"/>
          <p:cNvSpPr txBox="1"/>
          <p:nvPr/>
        </p:nvSpPr>
        <p:spPr bwMode="gray">
          <a:xfrm>
            <a:off x="8797709" y="1565223"/>
            <a:ext cx="32156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s</a:t>
            </a:r>
            <a:r>
              <a:rPr kumimoji="0" lang="fr-FR" sz="12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ls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gured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match the Software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velopment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lan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tegy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fr-FR" sz="1200" b="0" i="1" u="none" strike="noStrike" kern="120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ZoneTexte 75"/>
          <p:cNvSpPr txBox="1"/>
          <p:nvPr/>
        </p:nvSpPr>
        <p:spPr bwMode="gray">
          <a:xfrm>
            <a:off x="8740693" y="2952747"/>
            <a:ext cx="32156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cific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gile Release Train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: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d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n one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cific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gram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rement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rrently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velopment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fr-FR" sz="1200" b="0" i="1" u="none" strike="noStrike" kern="120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7" name="ZoneTexte 76"/>
          <p:cNvSpPr txBox="1"/>
          <p:nvPr/>
        </p:nvSpPr>
        <p:spPr bwMode="gray">
          <a:xfrm>
            <a:off x="8740693" y="4834316"/>
            <a:ext cx="321568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lder</a:t>
            </a:r>
            <a:r>
              <a:rPr kumimoji="0" lang="fr-FR" sz="12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aining</a:t>
            </a:r>
            <a:r>
              <a:rPr kumimoji="0" lang="fr-FR" sz="12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ll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alized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gram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rement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s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se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re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urized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uplicates of Program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rement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200" b="0" i="1" u="none" strike="noStrike" kern="1200" cap="none" spc="0" normalizeH="0" noProof="0" dirty="0" err="1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velopped</a:t>
            </a:r>
            <a:r>
              <a:rPr kumimoji="0" lang="fr-FR" sz="1200" b="0" i="1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leases.</a:t>
            </a:r>
            <a:endParaRPr kumimoji="0" lang="fr-FR" sz="1200" b="0" i="1" u="none" strike="noStrike" kern="1200" cap="none" spc="0" normalizeH="0" baseline="0" noProof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4194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JAMA </a:t>
            </a:r>
            <a:r>
              <a:rPr lang="fr-FR" dirty="0" err="1"/>
              <a:t>project</a:t>
            </a:r>
            <a:r>
              <a:rPr lang="fr-FR" dirty="0"/>
              <a:t> management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Projects</a:t>
            </a:r>
            <a:r>
              <a:rPr lang="fr-FR" dirty="0" smtClean="0"/>
              <a:t> management Workflow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grpSp>
        <p:nvGrpSpPr>
          <p:cNvPr id="40" name="Groupe 39"/>
          <p:cNvGrpSpPr/>
          <p:nvPr/>
        </p:nvGrpSpPr>
        <p:grpSpPr>
          <a:xfrm>
            <a:off x="3317773" y="1340768"/>
            <a:ext cx="5556454" cy="287742"/>
            <a:chOff x="2843802" y="2454295"/>
            <a:chExt cx="5556454" cy="287742"/>
          </a:xfrm>
        </p:grpSpPr>
        <p:pic>
          <p:nvPicPr>
            <p:cNvPr id="8" name="Image 7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2454295"/>
              <a:ext cx="319713" cy="287742"/>
            </a:xfrm>
            <a:prstGeom prst="rect">
              <a:avLst/>
            </a:prstGeom>
          </p:spPr>
        </p:pic>
        <p:sp>
          <p:nvSpPr>
            <p:cNvPr id="10" name="ZoneTexte 9"/>
            <p:cNvSpPr txBox="1"/>
            <p:nvPr/>
          </p:nvSpPr>
          <p:spPr bwMode="gray">
            <a:xfrm>
              <a:off x="3292674" y="2490444"/>
              <a:ext cx="510758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gitilizing</a:t>
              </a: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iopharma</a:t>
              </a: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cess</a:t>
              </a: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– PI ART - Model</a:t>
              </a:r>
              <a:endPara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3" name="Groupe 62"/>
          <p:cNvGrpSpPr/>
          <p:nvPr/>
        </p:nvGrpSpPr>
        <p:grpSpPr>
          <a:xfrm>
            <a:off x="335360" y="2420888"/>
            <a:ext cx="3888432" cy="287742"/>
            <a:chOff x="2843802" y="3587353"/>
            <a:chExt cx="5556454" cy="287742"/>
          </a:xfrm>
        </p:grpSpPr>
        <p:pic>
          <p:nvPicPr>
            <p:cNvPr id="65" name="Image 64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3587353"/>
              <a:ext cx="319713" cy="287742"/>
            </a:xfrm>
            <a:prstGeom prst="rect">
              <a:avLst/>
            </a:prstGeom>
          </p:spPr>
        </p:pic>
        <p:sp>
          <p:nvSpPr>
            <p:cNvPr id="67" name="ZoneTexte 66"/>
            <p:cNvSpPr txBox="1"/>
            <p:nvPr/>
          </p:nvSpPr>
          <p:spPr bwMode="gray">
            <a:xfrm>
              <a:off x="3292674" y="3617075"/>
              <a:ext cx="510758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PI 1 ART - </a:t>
              </a: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urrent</a:t>
              </a:r>
              <a:endPara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9" name="Groupe 68"/>
          <p:cNvGrpSpPr/>
          <p:nvPr/>
        </p:nvGrpSpPr>
        <p:grpSpPr>
          <a:xfrm>
            <a:off x="7267244" y="2421178"/>
            <a:ext cx="4445380" cy="287742"/>
            <a:chOff x="2844978" y="4053372"/>
            <a:chExt cx="5556454" cy="287742"/>
          </a:xfrm>
        </p:grpSpPr>
        <p:pic>
          <p:nvPicPr>
            <p:cNvPr id="78" name="Image 77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4978" y="4053372"/>
              <a:ext cx="319713" cy="287742"/>
            </a:xfrm>
            <a:prstGeom prst="rect">
              <a:avLst/>
            </a:prstGeom>
          </p:spPr>
        </p:pic>
        <p:sp>
          <p:nvSpPr>
            <p:cNvPr id="79" name="ZoneTexte 78"/>
            <p:cNvSpPr txBox="1"/>
            <p:nvPr/>
          </p:nvSpPr>
          <p:spPr bwMode="gray">
            <a:xfrm>
              <a:off x="3293850" y="4083094"/>
              <a:ext cx="510758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</a:t>
              </a: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oundation</a:t>
              </a: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RT - </a:t>
              </a: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urrent</a:t>
              </a:r>
              <a:endPara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80" name="Groupe 79"/>
          <p:cNvGrpSpPr/>
          <p:nvPr/>
        </p:nvGrpSpPr>
        <p:grpSpPr>
          <a:xfrm>
            <a:off x="335360" y="3004950"/>
            <a:ext cx="3888432" cy="287742"/>
            <a:chOff x="2843802" y="3587353"/>
            <a:chExt cx="5556454" cy="287742"/>
          </a:xfrm>
        </p:grpSpPr>
        <p:pic>
          <p:nvPicPr>
            <p:cNvPr id="81" name="Image 80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3587353"/>
              <a:ext cx="319713" cy="287742"/>
            </a:xfrm>
            <a:prstGeom prst="rect">
              <a:avLst/>
            </a:prstGeom>
          </p:spPr>
        </p:pic>
        <p:sp>
          <p:nvSpPr>
            <p:cNvPr id="82" name="ZoneTexte 81"/>
            <p:cNvSpPr txBox="1"/>
            <p:nvPr/>
          </p:nvSpPr>
          <p:spPr bwMode="gray">
            <a:xfrm>
              <a:off x="3292674" y="3617075"/>
              <a:ext cx="510758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PI 1 ART – v1.00.00.00 - Archive</a:t>
              </a:r>
              <a:endPara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83" name="Groupe 82"/>
          <p:cNvGrpSpPr/>
          <p:nvPr/>
        </p:nvGrpSpPr>
        <p:grpSpPr>
          <a:xfrm>
            <a:off x="335360" y="3357282"/>
            <a:ext cx="3888432" cy="287742"/>
            <a:chOff x="2843802" y="3587353"/>
            <a:chExt cx="5556454" cy="287742"/>
          </a:xfrm>
        </p:grpSpPr>
        <p:pic>
          <p:nvPicPr>
            <p:cNvPr id="84" name="Image 83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3587353"/>
              <a:ext cx="319713" cy="287742"/>
            </a:xfrm>
            <a:prstGeom prst="rect">
              <a:avLst/>
            </a:prstGeom>
          </p:spPr>
        </p:pic>
        <p:sp>
          <p:nvSpPr>
            <p:cNvPr id="85" name="ZoneTexte 84"/>
            <p:cNvSpPr txBox="1"/>
            <p:nvPr/>
          </p:nvSpPr>
          <p:spPr bwMode="gray">
            <a:xfrm>
              <a:off x="3292674" y="3617075"/>
              <a:ext cx="510758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PI 1 ART – v1.01.00.00 - Archive</a:t>
              </a:r>
              <a:endPara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2" name="Groupe 91"/>
          <p:cNvGrpSpPr/>
          <p:nvPr/>
        </p:nvGrpSpPr>
        <p:grpSpPr>
          <a:xfrm>
            <a:off x="7267244" y="2996952"/>
            <a:ext cx="4445380" cy="287742"/>
            <a:chOff x="2844978" y="4053372"/>
            <a:chExt cx="5556454" cy="287742"/>
          </a:xfrm>
        </p:grpSpPr>
        <p:pic>
          <p:nvPicPr>
            <p:cNvPr id="93" name="Image 92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4978" y="4053372"/>
              <a:ext cx="319713" cy="287742"/>
            </a:xfrm>
            <a:prstGeom prst="rect">
              <a:avLst/>
            </a:prstGeom>
          </p:spPr>
        </p:pic>
        <p:sp>
          <p:nvSpPr>
            <p:cNvPr id="94" name="ZoneTexte 93"/>
            <p:cNvSpPr txBox="1"/>
            <p:nvPr/>
          </p:nvSpPr>
          <p:spPr bwMode="gray">
            <a:xfrm>
              <a:off x="3293850" y="4083094"/>
              <a:ext cx="510758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</a:t>
              </a: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oundation</a:t>
              </a: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RT </a:t>
              </a:r>
              <a:r>
                <a:rPr lang="fr-FR" sz="11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– v1.00.00.00 - Archive</a:t>
              </a:r>
              <a:endPara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5" name="Groupe 94"/>
          <p:cNvGrpSpPr/>
          <p:nvPr/>
        </p:nvGrpSpPr>
        <p:grpSpPr>
          <a:xfrm>
            <a:off x="7267244" y="3855369"/>
            <a:ext cx="3387757" cy="287742"/>
            <a:chOff x="2843802" y="4606262"/>
            <a:chExt cx="5556454" cy="287742"/>
          </a:xfrm>
        </p:grpSpPr>
        <p:pic>
          <p:nvPicPr>
            <p:cNvPr id="96" name="Image 95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4606262"/>
              <a:ext cx="319713" cy="287742"/>
            </a:xfrm>
            <a:prstGeom prst="rect">
              <a:avLst/>
            </a:prstGeom>
          </p:spPr>
        </p:pic>
        <p:sp>
          <p:nvSpPr>
            <p:cNvPr id="97" name="ZoneTexte 96"/>
            <p:cNvSpPr txBox="1"/>
            <p:nvPr/>
          </p:nvSpPr>
          <p:spPr bwMode="gray">
            <a:xfrm>
              <a:off x="3292674" y="4635984"/>
              <a:ext cx="510758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NFR ART - </a:t>
              </a: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urrent</a:t>
              </a:r>
              <a:endPara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8" name="Groupe 97"/>
          <p:cNvGrpSpPr/>
          <p:nvPr/>
        </p:nvGrpSpPr>
        <p:grpSpPr>
          <a:xfrm>
            <a:off x="7267244" y="4365394"/>
            <a:ext cx="3891813" cy="287742"/>
            <a:chOff x="2843802" y="4606262"/>
            <a:chExt cx="5556454" cy="287742"/>
          </a:xfrm>
        </p:grpSpPr>
        <p:pic>
          <p:nvPicPr>
            <p:cNvPr id="99" name="Image 98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4606262"/>
              <a:ext cx="319713" cy="287742"/>
            </a:xfrm>
            <a:prstGeom prst="rect">
              <a:avLst/>
            </a:prstGeom>
          </p:spPr>
        </p:pic>
        <p:sp>
          <p:nvSpPr>
            <p:cNvPr id="100" name="ZoneTexte 99"/>
            <p:cNvSpPr txBox="1"/>
            <p:nvPr/>
          </p:nvSpPr>
          <p:spPr bwMode="gray">
            <a:xfrm>
              <a:off x="3292674" y="4635984"/>
              <a:ext cx="510758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NFR ART </a:t>
              </a:r>
              <a:r>
                <a:rPr lang="fr-FR" sz="11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– v1.00.00.00 - Archive</a:t>
              </a:r>
              <a:endPara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101" name="Groupe 100"/>
          <p:cNvGrpSpPr/>
          <p:nvPr/>
        </p:nvGrpSpPr>
        <p:grpSpPr>
          <a:xfrm>
            <a:off x="3009867" y="5085184"/>
            <a:ext cx="4452305" cy="287742"/>
            <a:chOff x="2843802" y="5107313"/>
            <a:chExt cx="5556454" cy="287742"/>
          </a:xfrm>
        </p:grpSpPr>
        <p:pic>
          <p:nvPicPr>
            <p:cNvPr id="102" name="Image 101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5107313"/>
              <a:ext cx="319713" cy="287742"/>
            </a:xfrm>
            <a:prstGeom prst="rect">
              <a:avLst/>
            </a:prstGeom>
          </p:spPr>
        </p:pic>
        <p:sp>
          <p:nvSpPr>
            <p:cNvPr id="103" name="ZoneTexte 102"/>
            <p:cNvSpPr txBox="1"/>
            <p:nvPr/>
          </p:nvSpPr>
          <p:spPr bwMode="gray">
            <a:xfrm>
              <a:off x="3292674" y="5137035"/>
              <a:ext cx="510758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PI </a:t>
              </a: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tegration</a:t>
              </a: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RT - </a:t>
              </a: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urrent</a:t>
              </a:r>
              <a:endPara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cxnSp>
        <p:nvCxnSpPr>
          <p:cNvPr id="12" name="Connecteur droit avec flèche 11"/>
          <p:cNvCxnSpPr/>
          <p:nvPr/>
        </p:nvCxnSpPr>
        <p:spPr>
          <a:xfrm>
            <a:off x="7377955" y="404664"/>
            <a:ext cx="86409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avec flèche 25"/>
          <p:cNvCxnSpPr/>
          <p:nvPr/>
        </p:nvCxnSpPr>
        <p:spPr>
          <a:xfrm>
            <a:off x="7377955" y="730800"/>
            <a:ext cx="86409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04" name="Connecteur droit avec flèche 103"/>
          <p:cNvCxnSpPr/>
          <p:nvPr/>
        </p:nvCxnSpPr>
        <p:spPr>
          <a:xfrm>
            <a:off x="7377955" y="1052736"/>
            <a:ext cx="86409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0" name="ZoneTexte 29"/>
          <p:cNvSpPr txBox="1"/>
          <p:nvPr/>
        </p:nvSpPr>
        <p:spPr bwMode="gray">
          <a:xfrm>
            <a:off x="8345555" y="290726"/>
            <a:ext cx="287418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1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plication </a:t>
            </a:r>
            <a:r>
              <a:rPr kumimoji="0" lang="fr-FR" sz="11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out</a:t>
            </a:r>
            <a:r>
              <a:rPr kumimoji="0" lang="fr-FR" sz="11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1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nchronization</a:t>
            </a:r>
            <a:endParaRPr kumimoji="0" lang="fr-FR" sz="1100" b="1" i="1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5" name="ZoneTexte 104"/>
          <p:cNvSpPr txBox="1"/>
          <p:nvPr/>
        </p:nvSpPr>
        <p:spPr bwMode="gray">
          <a:xfrm>
            <a:off x="8345555" y="617870"/>
            <a:ext cx="379911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1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plication </a:t>
            </a:r>
            <a:r>
              <a:rPr kumimoji="0" lang="fr-FR" sz="11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kumimoji="0" lang="fr-FR" sz="11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1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nchronization</a:t>
            </a:r>
            <a:r>
              <a:rPr kumimoji="0" lang="fr-FR" sz="11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+ </a:t>
            </a:r>
            <a:r>
              <a:rPr kumimoji="0" lang="fr-FR" sz="11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urization</a:t>
            </a:r>
            <a:endParaRPr kumimoji="0" lang="fr-FR" sz="1100" b="1" i="1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" name="ZoneTexte 105"/>
          <p:cNvSpPr txBox="1"/>
          <p:nvPr/>
        </p:nvSpPr>
        <p:spPr bwMode="gray">
          <a:xfrm>
            <a:off x="8325897" y="945014"/>
            <a:ext cx="21929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kumimoji="0" lang="fr-FR" sz="11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use</a:t>
            </a:r>
            <a:r>
              <a:rPr kumimoji="0" lang="fr-FR" sz="11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1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kumimoji="0" lang="fr-FR" sz="1100" b="1" i="1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fr-FR" sz="1100" b="1" i="1" u="none" strike="noStrike" kern="120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nchronization</a:t>
            </a:r>
            <a:endParaRPr kumimoji="0" lang="fr-FR" sz="1100" b="1" i="1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4" name="Connecteur en angle 33"/>
          <p:cNvCxnSpPr>
            <a:stCxn id="10" idx="2"/>
            <a:endCxn id="67" idx="0"/>
          </p:cNvCxnSpPr>
          <p:nvPr/>
        </p:nvCxnSpPr>
        <p:spPr>
          <a:xfrm rot="5400000">
            <a:off x="3926329" y="56503"/>
            <a:ext cx="904416" cy="3883798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en angle 55"/>
          <p:cNvCxnSpPr>
            <a:stCxn id="10" idx="2"/>
            <a:endCxn id="79" idx="0"/>
          </p:cNvCxnSpPr>
          <p:nvPr/>
        </p:nvCxnSpPr>
        <p:spPr>
          <a:xfrm rot="16200000" flipH="1">
            <a:off x="7542611" y="324019"/>
            <a:ext cx="904706" cy="3349056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en angle 60"/>
          <p:cNvCxnSpPr>
            <a:stCxn id="10" idx="2"/>
            <a:endCxn id="97" idx="0"/>
          </p:cNvCxnSpPr>
          <p:nvPr/>
        </p:nvCxnSpPr>
        <p:spPr>
          <a:xfrm rot="16200000" flipH="1">
            <a:off x="6539750" y="1326879"/>
            <a:ext cx="2338897" cy="2777525"/>
          </a:xfrm>
          <a:prstGeom prst="bentConnector3">
            <a:avLst>
              <a:gd name="adj1" fmla="val 87978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Connecteur en angle 108"/>
          <p:cNvCxnSpPr>
            <a:stCxn id="10" idx="2"/>
            <a:endCxn id="103" idx="0"/>
          </p:cNvCxnSpPr>
          <p:nvPr/>
        </p:nvCxnSpPr>
        <p:spPr>
          <a:xfrm rot="5400000">
            <a:off x="4083791" y="2878261"/>
            <a:ext cx="3568712" cy="904579"/>
          </a:xfrm>
          <a:prstGeom prst="bentConnector3">
            <a:avLst>
              <a:gd name="adj1" fmla="val 5732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Connecteur en angle 112"/>
          <p:cNvCxnSpPr>
            <a:stCxn id="65" idx="1"/>
            <a:endCxn id="81" idx="1"/>
          </p:cNvCxnSpPr>
          <p:nvPr/>
        </p:nvCxnSpPr>
        <p:spPr>
          <a:xfrm rot="10800000" flipV="1">
            <a:off x="335360" y="2564759"/>
            <a:ext cx="12700" cy="58406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5" name="Connecteur en angle 114"/>
          <p:cNvCxnSpPr>
            <a:stCxn id="65" idx="1"/>
            <a:endCxn id="84" idx="1"/>
          </p:cNvCxnSpPr>
          <p:nvPr/>
        </p:nvCxnSpPr>
        <p:spPr>
          <a:xfrm rot="10800000" flipV="1">
            <a:off x="335360" y="2564759"/>
            <a:ext cx="12700" cy="93639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7" name="Connecteur en angle 116"/>
          <p:cNvCxnSpPr>
            <a:stCxn id="78" idx="1"/>
            <a:endCxn id="93" idx="1"/>
          </p:cNvCxnSpPr>
          <p:nvPr/>
        </p:nvCxnSpPr>
        <p:spPr>
          <a:xfrm rot="10800000" flipV="1">
            <a:off x="7267244" y="2565049"/>
            <a:ext cx="12700" cy="57577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9" name="Connecteur en angle 118"/>
          <p:cNvCxnSpPr>
            <a:stCxn id="96" idx="1"/>
            <a:endCxn id="99" idx="1"/>
          </p:cNvCxnSpPr>
          <p:nvPr/>
        </p:nvCxnSpPr>
        <p:spPr>
          <a:xfrm rot="10800000" flipV="1">
            <a:off x="7267244" y="3999239"/>
            <a:ext cx="12700" cy="510025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3" name="Connecteur en angle 122"/>
          <p:cNvCxnSpPr>
            <a:stCxn id="94" idx="3"/>
            <a:endCxn id="103" idx="3"/>
          </p:cNvCxnSpPr>
          <p:nvPr/>
        </p:nvCxnSpPr>
        <p:spPr>
          <a:xfrm flipH="1">
            <a:off x="7462172" y="3111313"/>
            <a:ext cx="4250452" cy="2088232"/>
          </a:xfrm>
          <a:prstGeom prst="bentConnector3">
            <a:avLst>
              <a:gd name="adj1" fmla="val -5378"/>
            </a:avLst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5" name="Connecteur en angle 124"/>
          <p:cNvCxnSpPr>
            <a:stCxn id="100" idx="3"/>
            <a:endCxn id="103" idx="3"/>
          </p:cNvCxnSpPr>
          <p:nvPr/>
        </p:nvCxnSpPr>
        <p:spPr>
          <a:xfrm flipH="1">
            <a:off x="7462172" y="4479755"/>
            <a:ext cx="3696885" cy="719790"/>
          </a:xfrm>
          <a:prstGeom prst="bentConnector3">
            <a:avLst>
              <a:gd name="adj1" fmla="val -6184"/>
            </a:avLst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133" name="Groupe 132"/>
          <p:cNvGrpSpPr/>
          <p:nvPr/>
        </p:nvGrpSpPr>
        <p:grpSpPr>
          <a:xfrm>
            <a:off x="3009867" y="5566756"/>
            <a:ext cx="4670309" cy="368276"/>
            <a:chOff x="2843802" y="5107313"/>
            <a:chExt cx="5556454" cy="368276"/>
          </a:xfrm>
        </p:grpSpPr>
        <p:pic>
          <p:nvPicPr>
            <p:cNvPr id="134" name="Image 133"/>
            <p:cNvPicPr>
              <a:picLocks noChangeAspect="1"/>
            </p:cNvPicPr>
            <p:nvPr/>
          </p:nvPicPr>
          <p:blipFill rotWithShape="1">
            <a:blip r:embed="rId2"/>
            <a:srcRect l="72680" t="70790" r="8420" b="12201"/>
            <a:stretch/>
          </p:blipFill>
          <p:spPr>
            <a:xfrm>
              <a:off x="2843802" y="5107313"/>
              <a:ext cx="319713" cy="287742"/>
            </a:xfrm>
            <a:prstGeom prst="rect">
              <a:avLst/>
            </a:prstGeom>
          </p:spPr>
        </p:pic>
        <p:sp>
          <p:nvSpPr>
            <p:cNvPr id="135" name="ZoneTexte 134"/>
            <p:cNvSpPr txBox="1"/>
            <p:nvPr/>
          </p:nvSpPr>
          <p:spPr bwMode="gray">
            <a:xfrm>
              <a:off x="3292673" y="5137035"/>
              <a:ext cx="5107583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Name – PI </a:t>
              </a:r>
              <a:r>
                <a:rPr lang="fr-FR" sz="1100" dirty="0" err="1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tegration</a:t>
              </a:r>
              <a:r>
                <a:rPr lang="fr-FR" sz="11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ART - </a:t>
              </a:r>
              <a:r>
                <a:rPr lang="fr-FR" sz="11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v1.00.00.00 - Archive</a:t>
              </a:r>
              <a:endParaRPr kumimoji="0" lang="fr-F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cxnSp>
        <p:nvCxnSpPr>
          <p:cNvPr id="137" name="Connecteur en angle 136"/>
          <p:cNvCxnSpPr>
            <a:stCxn id="102" idx="2"/>
            <a:endCxn id="134" idx="1"/>
          </p:cNvCxnSpPr>
          <p:nvPr/>
        </p:nvCxnSpPr>
        <p:spPr>
          <a:xfrm rot="5400000">
            <a:off x="2905063" y="5477731"/>
            <a:ext cx="337701" cy="128091"/>
          </a:xfrm>
          <a:prstGeom prst="bentConnector4">
            <a:avLst>
              <a:gd name="adj1" fmla="val 28698"/>
              <a:gd name="adj2" fmla="val 278467"/>
            </a:avLst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7" name="Connecteur en angle 126"/>
          <p:cNvCxnSpPr>
            <a:stCxn id="85" idx="3"/>
            <a:endCxn id="102" idx="1"/>
          </p:cNvCxnSpPr>
          <p:nvPr/>
        </p:nvCxnSpPr>
        <p:spPr>
          <a:xfrm flipH="1">
            <a:off x="3009867" y="3471643"/>
            <a:ext cx="1213925" cy="1757412"/>
          </a:xfrm>
          <a:prstGeom prst="bentConnector5">
            <a:avLst>
              <a:gd name="adj1" fmla="val -18831"/>
              <a:gd name="adj2" fmla="val 48315"/>
              <a:gd name="adj3" fmla="val 118831"/>
            </a:avLst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83601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96000" y="1772816"/>
            <a:ext cx="4272112" cy="1028349"/>
          </a:xfrm>
        </p:spPr>
        <p:txBody>
          <a:bodyPr/>
          <a:lstStyle/>
          <a:p>
            <a:r>
              <a:rPr lang="fr-FR" dirty="0" smtClean="0"/>
              <a:t>Project duplication/</a:t>
            </a:r>
            <a:r>
              <a:rPr lang="fr-FR" dirty="0" err="1" smtClean="0"/>
              <a:t>reuse</a:t>
            </a:r>
            <a:r>
              <a:rPr lang="fr-FR" dirty="0" smtClean="0"/>
              <a:t> in </a:t>
            </a:r>
            <a:r>
              <a:rPr lang="fr-FR" dirty="0" err="1" smtClean="0"/>
              <a:t>jam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989251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R&amp;D Project Strategy| Oct-2016</a:t>
            </a:r>
            <a:endParaRPr lang="en-US" noProof="0" dirty="0" smtClean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roject duplication/</a:t>
            </a:r>
            <a:r>
              <a:rPr lang="fr-FR" dirty="0" err="1"/>
              <a:t>reuse</a:t>
            </a:r>
            <a:r>
              <a:rPr lang="fr-FR" dirty="0"/>
              <a:t> in </a:t>
            </a:r>
            <a:r>
              <a:rPr lang="fr-FR" dirty="0" err="1"/>
              <a:t>jama</a:t>
            </a:r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JAMA Project Duplication</a:t>
            </a:r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710" y="1124744"/>
            <a:ext cx="4092141" cy="2807313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2409" y="3303287"/>
            <a:ext cx="6639470" cy="2931714"/>
          </a:xfrm>
          <a:prstGeom prst="rect">
            <a:avLst/>
          </a:prstGeom>
        </p:spPr>
      </p:pic>
      <p:sp>
        <p:nvSpPr>
          <p:cNvPr id="11" name="Ellipse 10"/>
          <p:cNvSpPr/>
          <p:nvPr/>
        </p:nvSpPr>
        <p:spPr bwMode="gray">
          <a:xfrm>
            <a:off x="534822" y="1090413"/>
            <a:ext cx="413179" cy="35260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Ellipse 11"/>
          <p:cNvSpPr/>
          <p:nvPr/>
        </p:nvSpPr>
        <p:spPr bwMode="gray">
          <a:xfrm>
            <a:off x="1703512" y="1032793"/>
            <a:ext cx="864096" cy="35260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Ellipse 12"/>
          <p:cNvSpPr/>
          <p:nvPr/>
        </p:nvSpPr>
        <p:spPr bwMode="gray">
          <a:xfrm>
            <a:off x="3143672" y="3600056"/>
            <a:ext cx="936104" cy="35260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4" name="Ellipse 13"/>
          <p:cNvSpPr/>
          <p:nvPr/>
        </p:nvSpPr>
        <p:spPr bwMode="gray">
          <a:xfrm>
            <a:off x="4072409" y="4801146"/>
            <a:ext cx="2318774" cy="35260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5" name="Ellipse 14"/>
          <p:cNvSpPr/>
          <p:nvPr/>
        </p:nvSpPr>
        <p:spPr bwMode="gray">
          <a:xfrm>
            <a:off x="4203412" y="3731617"/>
            <a:ext cx="1238654" cy="352601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7769" y="546420"/>
            <a:ext cx="4316908" cy="2756867"/>
          </a:xfrm>
          <a:prstGeom prst="rect">
            <a:avLst/>
          </a:prstGeom>
        </p:spPr>
      </p:pic>
      <p:cxnSp>
        <p:nvCxnSpPr>
          <p:cNvPr id="18" name="Connecteur droit avec flèche 17"/>
          <p:cNvCxnSpPr>
            <a:stCxn id="11" idx="6"/>
            <a:endCxn id="12" idx="2"/>
          </p:cNvCxnSpPr>
          <p:nvPr/>
        </p:nvCxnSpPr>
        <p:spPr>
          <a:xfrm flipV="1">
            <a:off x="948001" y="1209094"/>
            <a:ext cx="755511" cy="5762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/>
          <p:cNvCxnSpPr>
            <a:endCxn id="13" idx="0"/>
          </p:cNvCxnSpPr>
          <p:nvPr/>
        </p:nvCxnSpPr>
        <p:spPr>
          <a:xfrm>
            <a:off x="2567608" y="1266714"/>
            <a:ext cx="1044116" cy="233334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avec flèche 22"/>
          <p:cNvCxnSpPr>
            <a:stCxn id="14" idx="0"/>
            <a:endCxn id="15" idx="4"/>
          </p:cNvCxnSpPr>
          <p:nvPr/>
        </p:nvCxnSpPr>
        <p:spPr>
          <a:xfrm flipH="1" flipV="1">
            <a:off x="4822739" y="4084218"/>
            <a:ext cx="409057" cy="7169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avec flèche 25"/>
          <p:cNvCxnSpPr>
            <a:stCxn id="13" idx="4"/>
          </p:cNvCxnSpPr>
          <p:nvPr/>
        </p:nvCxnSpPr>
        <p:spPr>
          <a:xfrm>
            <a:off x="3611724" y="3952657"/>
            <a:ext cx="460685" cy="99448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avec flèche 33"/>
          <p:cNvCxnSpPr>
            <a:endCxn id="16" idx="1"/>
          </p:cNvCxnSpPr>
          <p:nvPr/>
        </p:nvCxnSpPr>
        <p:spPr>
          <a:xfrm flipV="1">
            <a:off x="4822739" y="1924854"/>
            <a:ext cx="2985030" cy="18212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 bwMode="gray">
          <a:xfrm>
            <a:off x="10711879" y="1196948"/>
            <a:ext cx="374558" cy="352601"/>
          </a:xfrm>
          <a:prstGeom prst="ellipse">
            <a:avLst/>
          </a:prstGeom>
          <a:noFill/>
          <a:ln w="25400" cap="flat" cmpd="sng" algn="ctr">
            <a:solidFill>
              <a:schemeClr val="accent5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fr-FR" sz="1400" kern="0" dirty="0" smtClea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" name="ZoneTexte 3"/>
          <p:cNvSpPr txBox="1"/>
          <p:nvPr/>
        </p:nvSpPr>
        <p:spPr bwMode="gray">
          <a:xfrm>
            <a:off x="9480376" y="156129"/>
            <a:ext cx="2506161" cy="43088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lang="fr-FR" sz="14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</a:t>
            </a:r>
            <a:r>
              <a:rPr lang="fr-FR" sz="1400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</a:t>
            </a:r>
            <a:r>
              <a:rPr lang="fr-FR" sz="14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ected</a:t>
            </a:r>
            <a:r>
              <a:rPr lang="fr-FR" sz="14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f </a:t>
            </a:r>
            <a:r>
              <a:rPr lang="fr-FR" sz="1400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nchronization</a:t>
            </a:r>
            <a:r>
              <a:rPr lang="fr-FR" sz="14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</a:t>
            </a:r>
            <a:r>
              <a:rPr lang="fr-FR" sz="14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eded</a:t>
            </a:r>
            <a:endParaRPr kumimoji="0" lang="fr-FR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9" name="Connecteur droit avec flèche 8"/>
          <p:cNvCxnSpPr>
            <a:stCxn id="4" idx="2"/>
            <a:endCxn id="19" idx="0"/>
          </p:cNvCxnSpPr>
          <p:nvPr/>
        </p:nvCxnSpPr>
        <p:spPr>
          <a:xfrm>
            <a:off x="10733457" y="587016"/>
            <a:ext cx="165701" cy="60993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1975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 zu 9.potx" id="{09B7B9D9-5649-43BA-BEC1-945F932C6C38}" vid="{DB75A4EB-D289-4B52-9498-230D6E8687CA}"/>
    </a:ext>
  </a:extLst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2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05d84d07-c667-45c8-a9eb-649ddc5ff34c">Power Point</Category>
    <Subcategory xmlns="05d84d07-c667-45c8-a9eb-649ddc5ff34c">PowerPoint Templates</Subcategory>
    <Doctype xmlns="05d84d07-c667-45c8-a9eb-649ddc5ff34c" xsi:nil="true"/>
    <Kategorie xmlns="05d84d07-c667-45c8-a9eb-649ddc5ff34c">Power Point</Kategorie>
    <Unterkategorie xmlns="05d84d07-c667-45c8-a9eb-649ddc5ff34c" xsi:nil="true"/>
    <Language xmlns="05d84d07-c667-45c8-a9eb-649ddc5ff34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544360B16C324E948F3A20B4F65C63" ma:contentTypeVersion="8" ma:contentTypeDescription="Create a new document." ma:contentTypeScope="" ma:versionID="37249eaffb10b910df8978d4749b7ae4">
  <xsd:schema xmlns:xsd="http://www.w3.org/2001/XMLSchema" xmlns:xs="http://www.w3.org/2001/XMLSchema" xmlns:p="http://schemas.microsoft.com/office/2006/metadata/properties" xmlns:ns2="05d84d07-c667-45c8-a9eb-649ddc5ff34c" targetNamespace="http://schemas.microsoft.com/office/2006/metadata/properties" ma:root="true" ma:fieldsID="0cc9c3dafc20ff594bc209f4ad9693db" ns2:_="">
    <xsd:import namespace="05d84d07-c667-45c8-a9eb-649ddc5ff34c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Subcategory" minOccurs="0"/>
                <xsd:element ref="ns2:Doctype" minOccurs="0"/>
                <xsd:element ref="ns2:Kategorie" minOccurs="0"/>
                <xsd:element ref="ns2:Unterkategorie" minOccurs="0"/>
                <xsd:element ref="ns2:Languag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d84d07-c667-45c8-a9eb-649ddc5ff34c" elementFormDefault="qualified">
    <xsd:import namespace="http://schemas.microsoft.com/office/2006/documentManagement/types"/>
    <xsd:import namespace="http://schemas.microsoft.com/office/infopath/2007/PartnerControls"/>
    <xsd:element name="Category" ma:index="2" nillable="true" ma:displayName="Category" ma:format="Dropdown" ma:internalName="Category">
      <xsd:simpleType>
        <xsd:union memberTypes="dms:Text">
          <xsd:simpleType>
            <xsd:restriction base="dms:Choice">
              <xsd:enumeration value="Guidelines: Design principles, email guidelines"/>
              <xsd:enumeration value="Logos &amp; Vibrant M"/>
              <xsd:enumeration value="Microsoft-Word Template"/>
              <xsd:enumeration value="Power Point"/>
              <xsd:enumeration value="Images"/>
              <xsd:enumeration value="Brochures"/>
              <xsd:enumeration value="Videos"/>
              <xsd:enumeration value="Fonts"/>
              <xsd:enumeration value="Infographics"/>
              <xsd:enumeration value="Icons"/>
              <xsd:enumeration value="Cells"/>
              <xsd:enumeration value="Desktop Wallpaper"/>
              <xsd:enumeration value="Launch collateral: Table tops, Posters, banners"/>
              <xsd:enumeration value="Mercrobes"/>
            </xsd:restriction>
          </xsd:simpleType>
        </xsd:union>
      </xsd:simpleType>
    </xsd:element>
    <xsd:element name="Subcategory" ma:index="3" nillable="true" ma:displayName="Subcategory" ma:internalName="Subcategory">
      <xsd:simpleType>
        <xsd:restriction base="dms:Text">
          <xsd:maxLength value="255"/>
        </xsd:restriction>
      </xsd:simpleType>
    </xsd:element>
    <xsd:element name="Doctype" ma:index="10" nillable="true" ma:displayName="Doctype" ma:internalName="Doctype">
      <xsd:simpleType>
        <xsd:restriction base="dms:Text">
          <xsd:maxLength value="255"/>
        </xsd:restriction>
      </xsd:simpleType>
    </xsd:element>
    <xsd:element name="Kategorie" ma:index="11" nillable="true" ma:displayName="Kategorie" ma:format="Dropdown" ma:internalName="Kategorie">
      <xsd:simpleType>
        <xsd:restriction base="dms:Choice">
          <xsd:enumeration value="Broschüren"/>
          <xsd:enumeration value="Zellen"/>
          <xsd:enumeration value="Bildschirm-Hintergrund"/>
          <xsd:enumeration value="Schriften"/>
          <xsd:enumeration value="Richtlinien: Designprinzipien, E-Mail-Richtlinien"/>
          <xsd:enumeration value="Bilder"/>
          <xsd:enumeration value="Infografiken"/>
          <xsd:enumeration value="Zusätzliche Materialien (Poster, Banner,…)"/>
          <xsd:enumeration value="Logos &amp; Buntes M"/>
          <xsd:enumeration value="Microsoft-Word Volagen"/>
          <xsd:enumeration value="Power Point"/>
          <xsd:enumeration value="Videos"/>
          <xsd:enumeration value="Mercroben"/>
        </xsd:restriction>
      </xsd:simpleType>
    </xsd:element>
    <xsd:element name="Unterkategorie" ma:index="12" nillable="true" ma:displayName="Unterkategorie" ma:internalName="Unterkategorie">
      <xsd:simpleType>
        <xsd:restriction base="dms:Text">
          <xsd:maxLength value="255"/>
        </xsd:restriction>
      </xsd:simpleType>
    </xsd:element>
    <xsd:element name="Language" ma:index="13" nillable="true" ma:displayName="Language" ma:format="Dropdown" ma:internalName="Language">
      <xsd:simpleType>
        <xsd:union memberTypes="dms:Text">
          <xsd:simpleType>
            <xsd:restriction base="dms:Choice">
              <xsd:enumeration value="Global"/>
              <xsd:enumeration value="US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0A19D9B-ED77-4945-BB25-AAEE2FAAFF0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268932-5810-4CD4-8E39-594B9B0D7725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05d84d07-c667-45c8-a9eb-649ddc5ff34c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6F55AB2-ECF7-4F8A-A839-C5FEFC78FE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d84d07-c667-45c8-a9eb-649ddc5ff3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Master EN 16_9</Template>
  <TotalTime>6475</TotalTime>
  <Words>444</Words>
  <Application>Microsoft Office PowerPoint</Application>
  <PresentationFormat>Grand écran</PresentationFormat>
  <Paragraphs>97</Paragraphs>
  <Slides>11</Slides>
  <Notes>2</Notes>
  <HiddenSlides>0</HiddenSlides>
  <MMClips>0</MMClips>
  <ScaleCrop>false</ScaleCrop>
  <HeadingPairs>
    <vt:vector size="6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18" baseType="lpstr">
      <vt:lpstr>Calibri</vt:lpstr>
      <vt:lpstr>Symbol</vt:lpstr>
      <vt:lpstr>Verdana</vt:lpstr>
      <vt:lpstr>Merck</vt:lpstr>
      <vt:lpstr>Arial</vt:lpstr>
      <vt:lpstr>Wingdings</vt:lpstr>
      <vt:lpstr>Merck</vt:lpstr>
      <vt:lpstr>Project Management in JAMA</vt:lpstr>
      <vt:lpstr>Reminder</vt:lpstr>
      <vt:lpstr>Présentation PowerPoint</vt:lpstr>
      <vt:lpstr>Présentation PowerPoint</vt:lpstr>
      <vt:lpstr>JAMA project management</vt:lpstr>
      <vt:lpstr>Projects structure</vt:lpstr>
      <vt:lpstr>Projects management Workflow</vt:lpstr>
      <vt:lpstr>Project duplication/reuse in jama</vt:lpstr>
      <vt:lpstr>JAMA Project Duplication</vt:lpstr>
      <vt:lpstr>Item reuse</vt:lpstr>
      <vt:lpstr>Synchronized item comparis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rgaux Rapin</dc:creator>
  <cp:lastModifiedBy>Pauline Tristram</cp:lastModifiedBy>
  <cp:revision>495</cp:revision>
  <dcterms:created xsi:type="dcterms:W3CDTF">2015-11-02T14:44:44Z</dcterms:created>
  <dcterms:modified xsi:type="dcterms:W3CDTF">2017-03-21T10:0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544360B16C324E948F3A20B4F65C63</vt:lpwstr>
  </property>
</Properties>
</file>